
<file path=[Content_Types].xml><?xml version="1.0" encoding="utf-8"?>
<Types xmlns="http://schemas.openxmlformats.org/package/2006/content-types">
  <Default Extension="bin" ContentType="application/vnd.openxmlformats-officedocument.oleObject"/>
  <Default Extension="bmp" ContentType="image/bmp"/>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1.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2.xml" ContentType="application/vnd.openxmlformats-officedocument.presentationml.notesSlide+xml"/>
  <Override PartName="/ppt/tags/tag253.xml" ContentType="application/vnd.openxmlformats-officedocument.presentationml.tags+xml"/>
  <Override PartName="/ppt/notesSlides/notesSlide3.xml" ContentType="application/vnd.openxmlformats-officedocument.presentationml.notesSlide+xml"/>
  <Override PartName="/ppt/tags/tag254.xml" ContentType="application/vnd.openxmlformats-officedocument.presentationml.tags+xml"/>
  <Override PartName="/ppt/notesSlides/notesSlide4.xml" ContentType="application/vnd.openxmlformats-officedocument.presentationml.notesSlide+xml"/>
  <Override PartName="/ppt/tags/tag255.xml" ContentType="application/vnd.openxmlformats-officedocument.presentationml.tags+xml"/>
  <Override PartName="/ppt/notesSlides/notesSlide5.xml" ContentType="application/vnd.openxmlformats-officedocument.presentationml.notesSlide+xml"/>
  <Override PartName="/ppt/tags/tag256.xml" ContentType="application/vnd.openxmlformats-officedocument.presentationml.tags+xml"/>
  <Override PartName="/ppt/notesSlides/notesSlide6.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7.xml" ContentType="application/vnd.openxmlformats-officedocument.presentationml.notesSlide+xml"/>
  <Override PartName="/ppt/tags/tag260.xml" ContentType="application/vnd.openxmlformats-officedocument.presentationml.tags+xml"/>
  <Override PartName="/ppt/notesSlides/notesSlide8.xml" ContentType="application/vnd.openxmlformats-officedocument.presentationml.notesSlide+xml"/>
  <Override PartName="/ppt/tags/tag261.xml" ContentType="application/vnd.openxmlformats-officedocument.presentationml.tags+xml"/>
  <Override PartName="/ppt/notesSlides/notesSlide9.xml" ContentType="application/vnd.openxmlformats-officedocument.presentationml.notesSlide+xml"/>
  <Override PartName="/ppt/tags/tag262.xml" ContentType="application/vnd.openxmlformats-officedocument.presentationml.tags+xml"/>
  <Override PartName="/ppt/notesSlides/notesSlide10.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notesSlides/notesSlide11.xml" ContentType="application/vnd.openxmlformats-officedocument.presentationml.notesSlide+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notesSlides/notesSlide12.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notesSlides/notesSlide13.xml" ContentType="application/vnd.openxmlformats-officedocument.presentationml.notesSlide+xml"/>
  <Override PartName="/ppt/tags/tag275.xml" ContentType="application/vnd.openxmlformats-officedocument.presentationml.tags+xml"/>
  <Override PartName="/ppt/notesSlides/notesSlide14.xml" ContentType="application/vnd.openxmlformats-officedocument.presentationml.notesSlide+xml"/>
  <Override PartName="/ppt/tags/tag276.xml" ContentType="application/vnd.openxmlformats-officedocument.presentationml.tags+xml"/>
  <Override PartName="/ppt/notesSlides/notesSlide15.xml" ContentType="application/vnd.openxmlformats-officedocument.presentationml.notesSlide+xml"/>
  <Override PartName="/ppt/tags/tag277.xml" ContentType="application/vnd.openxmlformats-officedocument.presentationml.tags+xml"/>
  <Override PartName="/ppt/notesSlides/notesSlide16.xml" ContentType="application/vnd.openxmlformats-officedocument.presentationml.notesSlide+xml"/>
  <Override PartName="/ppt/tags/tag278.xml" ContentType="application/vnd.openxmlformats-officedocument.presentationml.tags+xml"/>
  <Override PartName="/ppt/tags/tag279.xml" ContentType="application/vnd.openxmlformats-officedocument.presentationml.tags+xml"/>
  <Override PartName="/ppt/notesSlides/notesSlide17.xml" ContentType="application/vnd.openxmlformats-officedocument.presentationml.notesSlide+xml"/>
  <Override PartName="/ppt/tags/tag280.xml" ContentType="application/vnd.openxmlformats-officedocument.presentationml.tags+xml"/>
  <Override PartName="/ppt/notesSlides/notesSlide18.xml" ContentType="application/vnd.openxmlformats-officedocument.presentationml.notesSlide+xml"/>
  <Override PartName="/ppt/tags/tag281.xml" ContentType="application/vnd.openxmlformats-officedocument.presentationml.tags+xml"/>
  <Override PartName="/ppt/notesSlides/notesSlide19.xml" ContentType="application/vnd.openxmlformats-officedocument.presentationml.notesSlide+xml"/>
  <Override PartName="/ppt/tags/tag282.xml" ContentType="application/vnd.openxmlformats-officedocument.presentationml.tags+xml"/>
  <Override PartName="/ppt/notesSlides/notesSlide20.xml" ContentType="application/vnd.openxmlformats-officedocument.presentationml.notesSlide+xml"/>
  <Override PartName="/ppt/tags/tag283.xml" ContentType="application/vnd.openxmlformats-officedocument.presentationml.tags+xml"/>
  <Override PartName="/ppt/notesSlides/notesSlide21.xml" ContentType="application/vnd.openxmlformats-officedocument.presentationml.notesSlide+xml"/>
  <Override PartName="/ppt/tags/tag284.xml" ContentType="application/vnd.openxmlformats-officedocument.presentationml.tags+xml"/>
  <Override PartName="/ppt/notesSlides/notesSlide22.xml" ContentType="application/vnd.openxmlformats-officedocument.presentationml.notesSlide+xml"/>
  <Override PartName="/ppt/tags/tag285.xml" ContentType="application/vnd.openxmlformats-officedocument.presentationml.tags+xml"/>
  <Override PartName="/ppt/notesSlides/notesSlide23.xml" ContentType="application/vnd.openxmlformats-officedocument.presentationml.notesSlide+xml"/>
  <Override PartName="/ppt/tags/tag286.xml" ContentType="application/vnd.openxmlformats-officedocument.presentationml.tags+xml"/>
  <Override PartName="/ppt/notesSlides/notesSlide24.xml" ContentType="application/vnd.openxmlformats-officedocument.presentationml.notesSlide+xml"/>
  <Override PartName="/ppt/tags/tag287.xml" ContentType="application/vnd.openxmlformats-officedocument.presentationml.tags+xml"/>
  <Override PartName="/ppt/notesSlides/notesSlide25.xml" ContentType="application/vnd.openxmlformats-officedocument.presentationml.notesSlide+xml"/>
  <Override PartName="/ppt/tags/tag288.xml" ContentType="application/vnd.openxmlformats-officedocument.presentationml.tags+xml"/>
  <Override PartName="/ppt/notesSlides/notesSlide26.xml" ContentType="application/vnd.openxmlformats-officedocument.presentationml.notesSlide+xml"/>
  <Override PartName="/ppt/tags/tag289.xml" ContentType="application/vnd.openxmlformats-officedocument.presentationml.tags+xml"/>
  <Override PartName="/ppt/tags/tag290.xml" ContentType="application/vnd.openxmlformats-officedocument.presentationml.tags+xml"/>
  <Override PartName="/ppt/notesSlides/notesSlide27.xml" ContentType="application/vnd.openxmlformats-officedocument.presentationml.notesSlide+xml"/>
  <Override PartName="/ppt/tags/tag291.xml" ContentType="application/vnd.openxmlformats-officedocument.presentationml.tags+xml"/>
  <Override PartName="/ppt/notesSlides/notesSlide28.xml" ContentType="application/vnd.openxmlformats-officedocument.presentationml.notesSlide+xml"/>
  <Override PartName="/ppt/tags/tag292.xml" ContentType="application/vnd.openxmlformats-officedocument.presentationml.tags+xml"/>
  <Override PartName="/ppt/notesSlides/notesSlide29.xml" ContentType="application/vnd.openxmlformats-officedocument.presentationml.notesSlide+xml"/>
  <Override PartName="/ppt/tags/tag293.xml" ContentType="application/vnd.openxmlformats-officedocument.presentationml.tags+xml"/>
  <Override PartName="/ppt/notesSlides/notesSlide30.xml" ContentType="application/vnd.openxmlformats-officedocument.presentationml.notesSlide+xml"/>
  <Override PartName="/ppt/tags/tag294.xml" ContentType="application/vnd.openxmlformats-officedocument.presentationml.tags+xml"/>
  <Override PartName="/ppt/notesSlides/notesSlide31.xml" ContentType="application/vnd.openxmlformats-officedocument.presentationml.notesSlide+xml"/>
  <Override PartName="/ppt/tags/tag295.xml" ContentType="application/vnd.openxmlformats-officedocument.presentationml.tags+xml"/>
  <Override PartName="/ppt/tags/tag29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97" r:id="rId4"/>
    <p:sldMasterId id="2147483926" r:id="rId5"/>
  </p:sldMasterIdLst>
  <p:notesMasterIdLst>
    <p:notesMasterId r:id="rId58"/>
  </p:notesMasterIdLst>
  <p:handoutMasterIdLst>
    <p:handoutMasterId r:id="rId59"/>
  </p:handoutMasterIdLst>
  <p:sldIdLst>
    <p:sldId id="2147470966" r:id="rId6"/>
    <p:sldId id="2147471065" r:id="rId7"/>
    <p:sldId id="2147471033" r:id="rId8"/>
    <p:sldId id="2147471034" r:id="rId9"/>
    <p:sldId id="2147471038" r:id="rId10"/>
    <p:sldId id="2147471071" r:id="rId11"/>
    <p:sldId id="2147471072" r:id="rId12"/>
    <p:sldId id="2147471073" r:id="rId13"/>
    <p:sldId id="2147471074" r:id="rId14"/>
    <p:sldId id="2147471076" r:id="rId15"/>
    <p:sldId id="2147471077" r:id="rId16"/>
    <p:sldId id="2147471085" r:id="rId17"/>
    <p:sldId id="2147471040" r:id="rId18"/>
    <p:sldId id="2147471086" r:id="rId19"/>
    <p:sldId id="2147471088" r:id="rId20"/>
    <p:sldId id="2147471094" r:id="rId21"/>
    <p:sldId id="2147471105" r:id="rId22"/>
    <p:sldId id="2147471149" r:id="rId23"/>
    <p:sldId id="2147471145" r:id="rId24"/>
    <p:sldId id="2147471108" r:id="rId25"/>
    <p:sldId id="2147471150" r:id="rId26"/>
    <p:sldId id="2147471144" r:id="rId27"/>
    <p:sldId id="2147471111" r:id="rId28"/>
    <p:sldId id="2147471146" r:id="rId29"/>
    <p:sldId id="2147471143" r:id="rId30"/>
    <p:sldId id="2147471102" r:id="rId31"/>
    <p:sldId id="2147471103" r:id="rId32"/>
    <p:sldId id="2147471039" r:id="rId33"/>
    <p:sldId id="2147471078" r:id="rId34"/>
    <p:sldId id="2147471081" r:id="rId35"/>
    <p:sldId id="2147471082" r:id="rId36"/>
    <p:sldId id="2147471083" r:id="rId37"/>
    <p:sldId id="2147471041" r:id="rId38"/>
    <p:sldId id="2147471115" r:id="rId39"/>
    <p:sldId id="2147471117" r:id="rId40"/>
    <p:sldId id="2147471119" r:id="rId41"/>
    <p:sldId id="2147471121" r:id="rId42"/>
    <p:sldId id="2147471122" r:id="rId43"/>
    <p:sldId id="2147471128" r:id="rId44"/>
    <p:sldId id="2147471069" r:id="rId45"/>
    <p:sldId id="2147471133" r:id="rId46"/>
    <p:sldId id="2147471135" r:id="rId47"/>
    <p:sldId id="2147471137" r:id="rId48"/>
    <p:sldId id="2147471044" r:id="rId49"/>
    <p:sldId id="2147471138" r:id="rId50"/>
    <p:sldId id="2147471139" r:id="rId51"/>
    <p:sldId id="2147471140" r:id="rId52"/>
    <p:sldId id="2147471141" r:id="rId53"/>
    <p:sldId id="2147471142" r:id="rId54"/>
    <p:sldId id="2147471148" r:id="rId55"/>
    <p:sldId id="2147471147" r:id="rId56"/>
    <p:sldId id="2147471067" r:id="rId57"/>
  </p:sldIdLst>
  <p:sldSz cx="12192000" cy="6858000"/>
  <p:notesSz cx="7102475" cy="9388475"/>
  <p:custDataLst>
    <p:tags r:id="rId6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E7E2"/>
    <a:srgbClr val="EFE3DD"/>
    <a:srgbClr val="D5D5D5"/>
    <a:srgbClr val="A7A7A7"/>
    <a:srgbClr val="E91F50"/>
    <a:srgbClr val="A1A1A1"/>
    <a:srgbClr val="C3C3C3"/>
    <a:srgbClr val="9F9F9F"/>
    <a:srgbClr val="E6D2C8"/>
    <a:srgbClr val="800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066A28-FD23-4819-BA2F-B506D5EF2DA4}" v="2122" dt="2022-09-02T12:30:34.7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2" d="100"/>
          <a:sy n="92" d="100"/>
        </p:scale>
        <p:origin x="66" y="31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notesMaster" Target="notesMasters/notesMaster1.xml"/><Relationship Id="rId66"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commentAuthors" Target="commentAuthor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handoutMaster" Target="handoutMasters/handoutMaster1.xml"/><Relationship Id="rId67" Type="http://schemas.microsoft.com/office/2015/10/relationships/revisionInfo" Target="revisionInfo.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fael Panlilio" userId="75e9542d-eb16-438e-8349-f2a93dbca0f5" providerId="ADAL" clId="{64066A28-FD23-4819-BA2F-B506D5EF2DA4}"/>
    <pc:docChg chg="custSel modSld">
      <pc:chgData name="Rafael Panlilio" userId="75e9542d-eb16-438e-8349-f2a93dbca0f5" providerId="ADAL" clId="{64066A28-FD23-4819-BA2F-B506D5EF2DA4}" dt="2022-09-02T12:31:15.347" v="1083" actId="14100"/>
      <pc:docMkLst>
        <pc:docMk/>
      </pc:docMkLst>
      <pc:sldChg chg="modSp mod">
        <pc:chgData name="Rafael Panlilio" userId="75e9542d-eb16-438e-8349-f2a93dbca0f5" providerId="ADAL" clId="{64066A28-FD23-4819-BA2F-B506D5EF2DA4}" dt="2022-09-02T09:53:46.206" v="519" actId="20577"/>
        <pc:sldMkLst>
          <pc:docMk/>
          <pc:sldMk cId="1258144688" sldId="2147470966"/>
        </pc:sldMkLst>
        <pc:spChg chg="mod">
          <ac:chgData name="Rafael Panlilio" userId="75e9542d-eb16-438e-8349-f2a93dbca0f5" providerId="ADAL" clId="{64066A28-FD23-4819-BA2F-B506D5EF2DA4}" dt="2022-09-02T09:53:46.206" v="519" actId="20577"/>
          <ac:spMkLst>
            <pc:docMk/>
            <pc:sldMk cId="1258144688" sldId="2147470966"/>
            <ac:spMk id="3" creationId="{9D165D28-4E2C-4E35-98E6-6B5023BBA057}"/>
          </ac:spMkLst>
        </pc:spChg>
      </pc:sldChg>
      <pc:sldChg chg="delSp modSp mod">
        <pc:chgData name="Rafael Panlilio" userId="75e9542d-eb16-438e-8349-f2a93dbca0f5" providerId="ADAL" clId="{64066A28-FD23-4819-BA2F-B506D5EF2DA4}" dt="2022-09-02T12:10:46.771" v="545" actId="478"/>
        <pc:sldMkLst>
          <pc:docMk/>
          <pc:sldMk cId="2440974409" sldId="2147471071"/>
        </pc:sldMkLst>
        <pc:picChg chg="mod ord replST">
          <ac:chgData name="Rafael Panlilio" userId="75e9542d-eb16-438e-8349-f2a93dbca0f5" providerId="ADAL" clId="{64066A28-FD23-4819-BA2F-B506D5EF2DA4}" dt="2022-09-02T12:10:46.761" v="544" actId="688"/>
          <ac:picMkLst>
            <pc:docMk/>
            <pc:sldMk cId="2440974409" sldId="2147471071"/>
            <ac:picMk id="6" creationId="{25A36590-A271-D834-8898-645635C4F31F}"/>
          </ac:picMkLst>
        </pc:picChg>
        <pc:picChg chg="del">
          <ac:chgData name="Rafael Panlilio" userId="75e9542d-eb16-438e-8349-f2a93dbca0f5" providerId="ADAL" clId="{64066A28-FD23-4819-BA2F-B506D5EF2DA4}" dt="2022-09-02T09:53:14.527" v="12" actId="478"/>
          <ac:picMkLst>
            <pc:docMk/>
            <pc:sldMk cId="2440974409" sldId="2147471071"/>
            <ac:picMk id="6" creationId="{857930D8-1E75-46C9-ED3C-3C069DFCF883}"/>
          </ac:picMkLst>
        </pc:picChg>
        <pc:picChg chg="del mod ord replST">
          <ac:chgData name="Rafael Panlilio" userId="75e9542d-eb16-438e-8349-f2a93dbca0f5" providerId="ADAL" clId="{64066A28-FD23-4819-BA2F-B506D5EF2DA4}" dt="2022-09-02T12:10:46.771" v="545" actId="478"/>
          <ac:picMkLst>
            <pc:docMk/>
            <pc:sldMk cId="2440974409" sldId="2147471071"/>
            <ac:picMk id="7" creationId="{E9CD31E2-3EA7-4961-6ABE-6B79A2DC9595}"/>
          </ac:picMkLst>
        </pc:picChg>
      </pc:sldChg>
      <pc:sldChg chg="delSp modSp mod">
        <pc:chgData name="Rafael Panlilio" userId="75e9542d-eb16-438e-8349-f2a93dbca0f5" providerId="ADAL" clId="{64066A28-FD23-4819-BA2F-B506D5EF2DA4}" dt="2022-09-02T12:10:46.814" v="558" actId="478"/>
        <pc:sldMkLst>
          <pc:docMk/>
          <pc:sldMk cId="560274243" sldId="2147471072"/>
        </pc:sldMkLst>
        <pc:picChg chg="del mod ord replST">
          <ac:chgData name="Rafael Panlilio" userId="75e9542d-eb16-438e-8349-f2a93dbca0f5" providerId="ADAL" clId="{64066A28-FD23-4819-BA2F-B506D5EF2DA4}" dt="2022-09-02T12:10:46.814" v="558" actId="478"/>
          <ac:picMkLst>
            <pc:docMk/>
            <pc:sldMk cId="560274243" sldId="2147471072"/>
            <ac:picMk id="6" creationId="{3090D03A-7FE2-FA2D-9044-0608A9481477}"/>
          </ac:picMkLst>
        </pc:picChg>
        <pc:picChg chg="del">
          <ac:chgData name="Rafael Panlilio" userId="75e9542d-eb16-438e-8349-f2a93dbca0f5" providerId="ADAL" clId="{64066A28-FD23-4819-BA2F-B506D5EF2DA4}" dt="2022-09-02T09:53:14.578" v="25" actId="478"/>
          <ac:picMkLst>
            <pc:docMk/>
            <pc:sldMk cId="560274243" sldId="2147471072"/>
            <ac:picMk id="7" creationId="{8C767233-5D73-E1A5-EE65-506EDD172249}"/>
          </ac:picMkLst>
        </pc:picChg>
        <pc:picChg chg="mod ord replST">
          <ac:chgData name="Rafael Panlilio" userId="75e9542d-eb16-438e-8349-f2a93dbca0f5" providerId="ADAL" clId="{64066A28-FD23-4819-BA2F-B506D5EF2DA4}" dt="2022-09-02T12:10:46.811" v="557" actId="688"/>
          <ac:picMkLst>
            <pc:docMk/>
            <pc:sldMk cId="560274243" sldId="2147471072"/>
            <ac:picMk id="7" creationId="{D4FDA188-B72A-94C0-322F-671DEC9EF674}"/>
          </ac:picMkLst>
        </pc:picChg>
      </pc:sldChg>
      <pc:sldChg chg="delSp modSp mod">
        <pc:chgData name="Rafael Panlilio" userId="75e9542d-eb16-438e-8349-f2a93dbca0f5" providerId="ADAL" clId="{64066A28-FD23-4819-BA2F-B506D5EF2DA4}" dt="2022-09-02T12:10:46.847" v="571" actId="478"/>
        <pc:sldMkLst>
          <pc:docMk/>
          <pc:sldMk cId="876173959" sldId="2147471073"/>
        </pc:sldMkLst>
        <pc:picChg chg="del mod ord replST">
          <ac:chgData name="Rafael Panlilio" userId="75e9542d-eb16-438e-8349-f2a93dbca0f5" providerId="ADAL" clId="{64066A28-FD23-4819-BA2F-B506D5EF2DA4}" dt="2022-09-02T12:10:46.847" v="571" actId="478"/>
          <ac:picMkLst>
            <pc:docMk/>
            <pc:sldMk cId="876173959" sldId="2147471073"/>
            <ac:picMk id="6" creationId="{A69C86BF-9F62-36AA-EEF8-FA9824BC9225}"/>
          </ac:picMkLst>
        </pc:picChg>
        <pc:picChg chg="del">
          <ac:chgData name="Rafael Panlilio" userId="75e9542d-eb16-438e-8349-f2a93dbca0f5" providerId="ADAL" clId="{64066A28-FD23-4819-BA2F-B506D5EF2DA4}" dt="2022-09-02T09:53:14.619" v="38" actId="478"/>
          <ac:picMkLst>
            <pc:docMk/>
            <pc:sldMk cId="876173959" sldId="2147471073"/>
            <ac:picMk id="7" creationId="{723F5079-A25E-F13F-3E5C-A421961246E6}"/>
          </ac:picMkLst>
        </pc:picChg>
        <pc:picChg chg="mod ord replST">
          <ac:chgData name="Rafael Panlilio" userId="75e9542d-eb16-438e-8349-f2a93dbca0f5" providerId="ADAL" clId="{64066A28-FD23-4819-BA2F-B506D5EF2DA4}" dt="2022-09-02T12:10:46.846" v="570" actId="688"/>
          <ac:picMkLst>
            <pc:docMk/>
            <pc:sldMk cId="876173959" sldId="2147471073"/>
            <ac:picMk id="7" creationId="{E3A631BF-E6E6-DACA-DAEF-DD35E35FFA39}"/>
          </ac:picMkLst>
        </pc:picChg>
      </pc:sldChg>
      <pc:sldChg chg="delSp modSp mod">
        <pc:chgData name="Rafael Panlilio" userId="75e9542d-eb16-438e-8349-f2a93dbca0f5" providerId="ADAL" clId="{64066A28-FD23-4819-BA2F-B506D5EF2DA4}" dt="2022-09-02T12:10:46.882" v="584" actId="478"/>
        <pc:sldMkLst>
          <pc:docMk/>
          <pc:sldMk cId="1389888273" sldId="2147471074"/>
        </pc:sldMkLst>
        <pc:picChg chg="del mod ord replST">
          <ac:chgData name="Rafael Panlilio" userId="75e9542d-eb16-438e-8349-f2a93dbca0f5" providerId="ADAL" clId="{64066A28-FD23-4819-BA2F-B506D5EF2DA4}" dt="2022-09-02T12:10:46.882" v="584" actId="478"/>
          <ac:picMkLst>
            <pc:docMk/>
            <pc:sldMk cId="1389888273" sldId="2147471074"/>
            <ac:picMk id="6" creationId="{5C5623D1-8865-631D-6691-665A0095B7D2}"/>
          </ac:picMkLst>
        </pc:picChg>
        <pc:picChg chg="mod ord replST">
          <ac:chgData name="Rafael Panlilio" userId="75e9542d-eb16-438e-8349-f2a93dbca0f5" providerId="ADAL" clId="{64066A28-FD23-4819-BA2F-B506D5EF2DA4}" dt="2022-09-02T12:10:46.880" v="583" actId="688"/>
          <ac:picMkLst>
            <pc:docMk/>
            <pc:sldMk cId="1389888273" sldId="2147471074"/>
            <ac:picMk id="7" creationId="{0202C652-75F9-5D55-69E4-CBC595B42E5A}"/>
          </ac:picMkLst>
        </pc:picChg>
        <pc:picChg chg="del">
          <ac:chgData name="Rafael Panlilio" userId="75e9542d-eb16-438e-8349-f2a93dbca0f5" providerId="ADAL" clId="{64066A28-FD23-4819-BA2F-B506D5EF2DA4}" dt="2022-09-02T09:53:14.654" v="51" actId="478"/>
          <ac:picMkLst>
            <pc:docMk/>
            <pc:sldMk cId="1389888273" sldId="2147471074"/>
            <ac:picMk id="7" creationId="{925EF92F-2FCD-828A-A459-3CF1BA340DA3}"/>
          </ac:picMkLst>
        </pc:picChg>
      </pc:sldChg>
      <pc:sldChg chg="delSp modSp mod">
        <pc:chgData name="Rafael Panlilio" userId="75e9542d-eb16-438e-8349-f2a93dbca0f5" providerId="ADAL" clId="{64066A28-FD23-4819-BA2F-B506D5EF2DA4}" dt="2022-09-02T12:10:46.921" v="597" actId="478"/>
        <pc:sldMkLst>
          <pc:docMk/>
          <pc:sldMk cId="1069006519" sldId="2147471076"/>
        </pc:sldMkLst>
        <pc:picChg chg="del mod ord replST">
          <ac:chgData name="Rafael Panlilio" userId="75e9542d-eb16-438e-8349-f2a93dbca0f5" providerId="ADAL" clId="{64066A28-FD23-4819-BA2F-B506D5EF2DA4}" dt="2022-09-02T12:10:46.921" v="597" actId="478"/>
          <ac:picMkLst>
            <pc:docMk/>
            <pc:sldMk cId="1069006519" sldId="2147471076"/>
            <ac:picMk id="6" creationId="{8DA71C6F-8E62-33DF-63DD-3A2B6E297165}"/>
          </ac:picMkLst>
        </pc:picChg>
        <pc:picChg chg="mod ord replST">
          <ac:chgData name="Rafael Panlilio" userId="75e9542d-eb16-438e-8349-f2a93dbca0f5" providerId="ADAL" clId="{64066A28-FD23-4819-BA2F-B506D5EF2DA4}" dt="2022-09-02T12:10:46.919" v="596" actId="688"/>
          <ac:picMkLst>
            <pc:docMk/>
            <pc:sldMk cId="1069006519" sldId="2147471076"/>
            <ac:picMk id="7" creationId="{C081A5AF-90FD-12B5-C91E-D6951C650CDE}"/>
          </ac:picMkLst>
        </pc:picChg>
        <pc:picChg chg="del">
          <ac:chgData name="Rafael Panlilio" userId="75e9542d-eb16-438e-8349-f2a93dbca0f5" providerId="ADAL" clId="{64066A28-FD23-4819-BA2F-B506D5EF2DA4}" dt="2022-09-02T09:53:14.698" v="64" actId="478"/>
          <ac:picMkLst>
            <pc:docMk/>
            <pc:sldMk cId="1069006519" sldId="2147471076"/>
            <ac:picMk id="7" creationId="{EBE8D66D-365C-2517-38FA-84B00C4605F6}"/>
          </ac:picMkLst>
        </pc:picChg>
      </pc:sldChg>
      <pc:sldChg chg="delSp modSp mod">
        <pc:chgData name="Rafael Panlilio" userId="75e9542d-eb16-438e-8349-f2a93dbca0f5" providerId="ADAL" clId="{64066A28-FD23-4819-BA2F-B506D5EF2DA4}" dt="2022-09-02T12:10:46.954" v="610" actId="478"/>
        <pc:sldMkLst>
          <pc:docMk/>
          <pc:sldMk cId="872119931" sldId="2147471077"/>
        </pc:sldMkLst>
        <pc:picChg chg="del mod ord replST">
          <ac:chgData name="Rafael Panlilio" userId="75e9542d-eb16-438e-8349-f2a93dbca0f5" providerId="ADAL" clId="{64066A28-FD23-4819-BA2F-B506D5EF2DA4}" dt="2022-09-02T12:10:46.954" v="610" actId="478"/>
          <ac:picMkLst>
            <pc:docMk/>
            <pc:sldMk cId="872119931" sldId="2147471077"/>
            <ac:picMk id="6" creationId="{27698A0E-1420-F549-E4D0-A54C4A9066D2}"/>
          </ac:picMkLst>
        </pc:picChg>
        <pc:picChg chg="mod ord replST">
          <ac:chgData name="Rafael Panlilio" userId="75e9542d-eb16-438e-8349-f2a93dbca0f5" providerId="ADAL" clId="{64066A28-FD23-4819-BA2F-B506D5EF2DA4}" dt="2022-09-02T12:10:46.952" v="609" actId="688"/>
          <ac:picMkLst>
            <pc:docMk/>
            <pc:sldMk cId="872119931" sldId="2147471077"/>
            <ac:picMk id="7" creationId="{802ACA3F-C5D4-3870-1258-409ADB96A1D9}"/>
          </ac:picMkLst>
        </pc:picChg>
        <pc:picChg chg="del">
          <ac:chgData name="Rafael Panlilio" userId="75e9542d-eb16-438e-8349-f2a93dbca0f5" providerId="ADAL" clId="{64066A28-FD23-4819-BA2F-B506D5EF2DA4}" dt="2022-09-02T09:53:14.735" v="77" actId="478"/>
          <ac:picMkLst>
            <pc:docMk/>
            <pc:sldMk cId="872119931" sldId="2147471077"/>
            <ac:picMk id="7" creationId="{C94D66D6-268A-32F4-8E25-B16AD715B2BF}"/>
          </ac:picMkLst>
        </pc:picChg>
      </pc:sldChg>
      <pc:sldChg chg="delSp modSp mod">
        <pc:chgData name="Rafael Panlilio" userId="75e9542d-eb16-438e-8349-f2a93dbca0f5" providerId="ADAL" clId="{64066A28-FD23-4819-BA2F-B506D5EF2DA4}" dt="2022-09-02T12:10:47.469" v="814" actId="478"/>
        <pc:sldMkLst>
          <pc:docMk/>
          <pc:sldMk cId="2775421868" sldId="2147471078"/>
        </pc:sldMkLst>
        <pc:picChg chg="del mod ord replST">
          <ac:chgData name="Rafael Panlilio" userId="75e9542d-eb16-438e-8349-f2a93dbca0f5" providerId="ADAL" clId="{64066A28-FD23-4819-BA2F-B506D5EF2DA4}" dt="2022-09-02T12:10:47.469" v="814" actId="478"/>
          <ac:picMkLst>
            <pc:docMk/>
            <pc:sldMk cId="2775421868" sldId="2147471078"/>
            <ac:picMk id="6" creationId="{934B93BC-9E84-4945-9B87-47938A741949}"/>
          </ac:picMkLst>
        </pc:picChg>
        <pc:picChg chg="del">
          <ac:chgData name="Rafael Panlilio" userId="75e9542d-eb16-438e-8349-f2a93dbca0f5" providerId="ADAL" clId="{64066A28-FD23-4819-BA2F-B506D5EF2DA4}" dt="2022-09-02T09:53:15.568" v="285" actId="478"/>
          <ac:picMkLst>
            <pc:docMk/>
            <pc:sldMk cId="2775421868" sldId="2147471078"/>
            <ac:picMk id="7" creationId="{795F1720-8B26-786C-93A9-0368BF26F21C}"/>
          </ac:picMkLst>
        </pc:picChg>
        <pc:picChg chg="mod ord replST">
          <ac:chgData name="Rafael Panlilio" userId="75e9542d-eb16-438e-8349-f2a93dbca0f5" providerId="ADAL" clId="{64066A28-FD23-4819-BA2F-B506D5EF2DA4}" dt="2022-09-02T12:10:47.467" v="813" actId="688"/>
          <ac:picMkLst>
            <pc:docMk/>
            <pc:sldMk cId="2775421868" sldId="2147471078"/>
            <ac:picMk id="7" creationId="{B68DC8E9-9728-D4A6-30C5-8B64C14E2A0D}"/>
          </ac:picMkLst>
        </pc:picChg>
      </pc:sldChg>
      <pc:sldChg chg="delSp modSp mod">
        <pc:chgData name="Rafael Panlilio" userId="75e9542d-eb16-438e-8349-f2a93dbca0f5" providerId="ADAL" clId="{64066A28-FD23-4819-BA2F-B506D5EF2DA4}" dt="2022-09-02T12:10:47.500" v="827" actId="478"/>
        <pc:sldMkLst>
          <pc:docMk/>
          <pc:sldMk cId="1799540317" sldId="2147471081"/>
        </pc:sldMkLst>
        <pc:picChg chg="del mod ord replST">
          <ac:chgData name="Rafael Panlilio" userId="75e9542d-eb16-438e-8349-f2a93dbca0f5" providerId="ADAL" clId="{64066A28-FD23-4819-BA2F-B506D5EF2DA4}" dt="2022-09-02T12:10:47.500" v="827" actId="478"/>
          <ac:picMkLst>
            <pc:docMk/>
            <pc:sldMk cId="1799540317" sldId="2147471081"/>
            <ac:picMk id="6" creationId="{12A328D1-2CB8-1EAA-AFF4-1E1B8E1E99CD}"/>
          </ac:picMkLst>
        </pc:picChg>
        <pc:picChg chg="mod ord replST">
          <ac:chgData name="Rafael Panlilio" userId="75e9542d-eb16-438e-8349-f2a93dbca0f5" providerId="ADAL" clId="{64066A28-FD23-4819-BA2F-B506D5EF2DA4}" dt="2022-09-02T12:10:47.498" v="826" actId="688"/>
          <ac:picMkLst>
            <pc:docMk/>
            <pc:sldMk cId="1799540317" sldId="2147471081"/>
            <ac:picMk id="7" creationId="{2471600D-2C1D-E5E4-FCA9-6551A17C4B87}"/>
          </ac:picMkLst>
        </pc:picChg>
        <pc:picChg chg="del">
          <ac:chgData name="Rafael Panlilio" userId="75e9542d-eb16-438e-8349-f2a93dbca0f5" providerId="ADAL" clId="{64066A28-FD23-4819-BA2F-B506D5EF2DA4}" dt="2022-09-02T09:53:15.612" v="298" actId="478"/>
          <ac:picMkLst>
            <pc:docMk/>
            <pc:sldMk cId="1799540317" sldId="2147471081"/>
            <ac:picMk id="7" creationId="{4B931F31-7B8A-C4F8-388B-6BDC62BF6FD7}"/>
          </ac:picMkLst>
        </pc:picChg>
      </pc:sldChg>
      <pc:sldChg chg="delSp modSp mod">
        <pc:chgData name="Rafael Panlilio" userId="75e9542d-eb16-438e-8349-f2a93dbca0f5" providerId="ADAL" clId="{64066A28-FD23-4819-BA2F-B506D5EF2DA4}" dt="2022-09-02T12:10:47.531" v="840" actId="478"/>
        <pc:sldMkLst>
          <pc:docMk/>
          <pc:sldMk cId="792853991" sldId="2147471082"/>
        </pc:sldMkLst>
        <pc:picChg chg="del mod ord replST">
          <ac:chgData name="Rafael Panlilio" userId="75e9542d-eb16-438e-8349-f2a93dbca0f5" providerId="ADAL" clId="{64066A28-FD23-4819-BA2F-B506D5EF2DA4}" dt="2022-09-02T12:10:47.531" v="840" actId="478"/>
          <ac:picMkLst>
            <pc:docMk/>
            <pc:sldMk cId="792853991" sldId="2147471082"/>
            <ac:picMk id="6" creationId="{98C6E0AB-F6D1-1BDB-B109-3DBC7AA587DD}"/>
          </ac:picMkLst>
        </pc:picChg>
        <pc:picChg chg="del">
          <ac:chgData name="Rafael Panlilio" userId="75e9542d-eb16-438e-8349-f2a93dbca0f5" providerId="ADAL" clId="{64066A28-FD23-4819-BA2F-B506D5EF2DA4}" dt="2022-09-02T09:53:15.654" v="311" actId="478"/>
          <ac:picMkLst>
            <pc:docMk/>
            <pc:sldMk cId="792853991" sldId="2147471082"/>
            <ac:picMk id="7" creationId="{6C828D70-5450-F5FE-9E22-2F1AAF9994CA}"/>
          </ac:picMkLst>
        </pc:picChg>
        <pc:picChg chg="mod ord replST">
          <ac:chgData name="Rafael Panlilio" userId="75e9542d-eb16-438e-8349-f2a93dbca0f5" providerId="ADAL" clId="{64066A28-FD23-4819-BA2F-B506D5EF2DA4}" dt="2022-09-02T12:10:47.529" v="839" actId="688"/>
          <ac:picMkLst>
            <pc:docMk/>
            <pc:sldMk cId="792853991" sldId="2147471082"/>
            <ac:picMk id="7" creationId="{89296A36-6389-2802-F715-EDA9E829FAB2}"/>
          </ac:picMkLst>
        </pc:picChg>
      </pc:sldChg>
      <pc:sldChg chg="delSp modSp mod">
        <pc:chgData name="Rafael Panlilio" userId="75e9542d-eb16-438e-8349-f2a93dbca0f5" providerId="ADAL" clId="{64066A28-FD23-4819-BA2F-B506D5EF2DA4}" dt="2022-09-02T12:10:47.566" v="853" actId="478"/>
        <pc:sldMkLst>
          <pc:docMk/>
          <pc:sldMk cId="1686845856" sldId="2147471083"/>
        </pc:sldMkLst>
        <pc:picChg chg="del mod ord replST">
          <ac:chgData name="Rafael Panlilio" userId="75e9542d-eb16-438e-8349-f2a93dbca0f5" providerId="ADAL" clId="{64066A28-FD23-4819-BA2F-B506D5EF2DA4}" dt="2022-09-02T12:10:47.566" v="853" actId="478"/>
          <ac:picMkLst>
            <pc:docMk/>
            <pc:sldMk cId="1686845856" sldId="2147471083"/>
            <ac:picMk id="6" creationId="{57D106C4-6391-A3E1-7A49-E827BEE0ADE3}"/>
          </ac:picMkLst>
        </pc:picChg>
        <pc:picChg chg="del">
          <ac:chgData name="Rafael Panlilio" userId="75e9542d-eb16-438e-8349-f2a93dbca0f5" providerId="ADAL" clId="{64066A28-FD23-4819-BA2F-B506D5EF2DA4}" dt="2022-09-02T09:53:15.704" v="324" actId="478"/>
          <ac:picMkLst>
            <pc:docMk/>
            <pc:sldMk cId="1686845856" sldId="2147471083"/>
            <ac:picMk id="7" creationId="{207E0790-98B7-98A5-49D6-DA554C6E54AF}"/>
          </ac:picMkLst>
        </pc:picChg>
        <pc:picChg chg="mod ord replST">
          <ac:chgData name="Rafael Panlilio" userId="75e9542d-eb16-438e-8349-f2a93dbca0f5" providerId="ADAL" clId="{64066A28-FD23-4819-BA2F-B506D5EF2DA4}" dt="2022-09-02T12:10:47.564" v="852" actId="688"/>
          <ac:picMkLst>
            <pc:docMk/>
            <pc:sldMk cId="1686845856" sldId="2147471083"/>
            <ac:picMk id="7" creationId="{B9BB89E5-9362-B5EE-7E4C-9D4E19A422E6}"/>
          </ac:picMkLst>
        </pc:picChg>
      </pc:sldChg>
      <pc:sldChg chg="delSp modSp mod">
        <pc:chgData name="Rafael Panlilio" userId="75e9542d-eb16-438e-8349-f2a93dbca0f5" providerId="ADAL" clId="{64066A28-FD23-4819-BA2F-B506D5EF2DA4}" dt="2022-09-02T12:10:46.984" v="623" actId="478"/>
        <pc:sldMkLst>
          <pc:docMk/>
          <pc:sldMk cId="2310409529" sldId="2147471085"/>
        </pc:sldMkLst>
        <pc:picChg chg="del mod ord replST">
          <ac:chgData name="Rafael Panlilio" userId="75e9542d-eb16-438e-8349-f2a93dbca0f5" providerId="ADAL" clId="{64066A28-FD23-4819-BA2F-B506D5EF2DA4}" dt="2022-09-02T12:10:46.984" v="623" actId="478"/>
          <ac:picMkLst>
            <pc:docMk/>
            <pc:sldMk cId="2310409529" sldId="2147471085"/>
            <ac:picMk id="6" creationId="{6EACEF71-4D7C-70C3-6F3F-FD9EEDDE343A}"/>
          </ac:picMkLst>
        </pc:picChg>
        <pc:picChg chg="mod ord replST">
          <ac:chgData name="Rafael Panlilio" userId="75e9542d-eb16-438e-8349-f2a93dbca0f5" providerId="ADAL" clId="{64066A28-FD23-4819-BA2F-B506D5EF2DA4}" dt="2022-09-02T12:10:46.982" v="622" actId="688"/>
          <ac:picMkLst>
            <pc:docMk/>
            <pc:sldMk cId="2310409529" sldId="2147471085"/>
            <ac:picMk id="7" creationId="{810554E5-BEB0-3849-AE1D-D7B3B894FA51}"/>
          </ac:picMkLst>
        </pc:picChg>
        <pc:picChg chg="del">
          <ac:chgData name="Rafael Panlilio" userId="75e9542d-eb16-438e-8349-f2a93dbca0f5" providerId="ADAL" clId="{64066A28-FD23-4819-BA2F-B506D5EF2DA4}" dt="2022-09-02T09:53:14.772" v="90" actId="478"/>
          <ac:picMkLst>
            <pc:docMk/>
            <pc:sldMk cId="2310409529" sldId="2147471085"/>
            <ac:picMk id="7" creationId="{9C1F1954-89D5-8AD0-FB7E-1E6D9D04967D}"/>
          </ac:picMkLst>
        </pc:picChg>
      </pc:sldChg>
      <pc:sldChg chg="delSp modSp mod">
        <pc:chgData name="Rafael Panlilio" userId="75e9542d-eb16-438e-8349-f2a93dbca0f5" providerId="ADAL" clId="{64066A28-FD23-4819-BA2F-B506D5EF2DA4}" dt="2022-09-02T12:10:47.020" v="636" actId="478"/>
        <pc:sldMkLst>
          <pc:docMk/>
          <pc:sldMk cId="3995148840" sldId="2147471086"/>
        </pc:sldMkLst>
        <pc:picChg chg="del mod ord replST">
          <ac:chgData name="Rafael Panlilio" userId="75e9542d-eb16-438e-8349-f2a93dbca0f5" providerId="ADAL" clId="{64066A28-FD23-4819-BA2F-B506D5EF2DA4}" dt="2022-09-02T12:10:47.020" v="636" actId="478"/>
          <ac:picMkLst>
            <pc:docMk/>
            <pc:sldMk cId="3995148840" sldId="2147471086"/>
            <ac:picMk id="6" creationId="{6955BBC6-F18E-D54B-E432-07019235E3C6}"/>
          </ac:picMkLst>
        </pc:picChg>
        <pc:picChg chg="del">
          <ac:chgData name="Rafael Panlilio" userId="75e9542d-eb16-438e-8349-f2a93dbca0f5" providerId="ADAL" clId="{64066A28-FD23-4819-BA2F-B506D5EF2DA4}" dt="2022-09-02T09:53:14.828" v="103" actId="478"/>
          <ac:picMkLst>
            <pc:docMk/>
            <pc:sldMk cId="3995148840" sldId="2147471086"/>
            <ac:picMk id="7" creationId="{4818136C-F253-42E2-1092-8BAB33A67DC7}"/>
          </ac:picMkLst>
        </pc:picChg>
        <pc:picChg chg="mod ord replST">
          <ac:chgData name="Rafael Panlilio" userId="75e9542d-eb16-438e-8349-f2a93dbca0f5" providerId="ADAL" clId="{64066A28-FD23-4819-BA2F-B506D5EF2DA4}" dt="2022-09-02T12:10:47.018" v="635" actId="688"/>
          <ac:picMkLst>
            <pc:docMk/>
            <pc:sldMk cId="3995148840" sldId="2147471086"/>
            <ac:picMk id="7" creationId="{FB11977E-2651-90EB-C095-0ABA66083847}"/>
          </ac:picMkLst>
        </pc:picChg>
      </pc:sldChg>
      <pc:sldChg chg="delSp modSp mod">
        <pc:chgData name="Rafael Panlilio" userId="75e9542d-eb16-438e-8349-f2a93dbca0f5" providerId="ADAL" clId="{64066A28-FD23-4819-BA2F-B506D5EF2DA4}" dt="2022-09-02T12:10:47.049" v="649" actId="478"/>
        <pc:sldMkLst>
          <pc:docMk/>
          <pc:sldMk cId="1919967370" sldId="2147471088"/>
        </pc:sldMkLst>
        <pc:picChg chg="del mod ord replST">
          <ac:chgData name="Rafael Panlilio" userId="75e9542d-eb16-438e-8349-f2a93dbca0f5" providerId="ADAL" clId="{64066A28-FD23-4819-BA2F-B506D5EF2DA4}" dt="2022-09-02T12:10:47.049" v="649" actId="478"/>
          <ac:picMkLst>
            <pc:docMk/>
            <pc:sldMk cId="1919967370" sldId="2147471088"/>
            <ac:picMk id="6" creationId="{8D6F3A43-4820-433C-F316-6EBF2CD3457A}"/>
          </ac:picMkLst>
        </pc:picChg>
        <pc:picChg chg="mod ord replST">
          <ac:chgData name="Rafael Panlilio" userId="75e9542d-eb16-438e-8349-f2a93dbca0f5" providerId="ADAL" clId="{64066A28-FD23-4819-BA2F-B506D5EF2DA4}" dt="2022-09-02T12:10:47.047" v="648" actId="688"/>
          <ac:picMkLst>
            <pc:docMk/>
            <pc:sldMk cId="1919967370" sldId="2147471088"/>
            <ac:picMk id="7" creationId="{943533F7-96D4-49A1-5436-74F836DB6623}"/>
          </ac:picMkLst>
        </pc:picChg>
        <pc:picChg chg="del">
          <ac:chgData name="Rafael Panlilio" userId="75e9542d-eb16-438e-8349-f2a93dbca0f5" providerId="ADAL" clId="{64066A28-FD23-4819-BA2F-B506D5EF2DA4}" dt="2022-09-02T09:53:14.866" v="116" actId="478"/>
          <ac:picMkLst>
            <pc:docMk/>
            <pc:sldMk cId="1919967370" sldId="2147471088"/>
            <ac:picMk id="7" creationId="{B8B8656D-6DAE-0090-7FB0-2CC76744A086}"/>
          </ac:picMkLst>
        </pc:picChg>
      </pc:sldChg>
      <pc:sldChg chg="delSp modSp mod">
        <pc:chgData name="Rafael Panlilio" userId="75e9542d-eb16-438e-8349-f2a93dbca0f5" providerId="ADAL" clId="{64066A28-FD23-4819-BA2F-B506D5EF2DA4}" dt="2022-09-02T12:13:14.967" v="1051" actId="14100"/>
        <pc:sldMkLst>
          <pc:docMk/>
          <pc:sldMk cId="1676855521" sldId="2147471094"/>
        </pc:sldMkLst>
        <pc:picChg chg="del mod ord replST">
          <ac:chgData name="Rafael Panlilio" userId="75e9542d-eb16-438e-8349-f2a93dbca0f5" providerId="ADAL" clId="{64066A28-FD23-4819-BA2F-B506D5EF2DA4}" dt="2022-09-02T12:10:47.088" v="660" actId="478"/>
          <ac:picMkLst>
            <pc:docMk/>
            <pc:sldMk cId="1676855521" sldId="2147471094"/>
            <ac:picMk id="6" creationId="{83534894-B712-04D1-0276-1B0479E42AF4}"/>
          </ac:picMkLst>
        </pc:picChg>
        <pc:picChg chg="del mod ord replST">
          <ac:chgData name="Rafael Panlilio" userId="75e9542d-eb16-438e-8349-f2a93dbca0f5" providerId="ADAL" clId="{64066A28-FD23-4819-BA2F-B506D5EF2DA4}" dt="2022-09-02T12:12:22.425" v="1046" actId="478"/>
          <ac:picMkLst>
            <pc:docMk/>
            <pc:sldMk cId="1676855521" sldId="2147471094"/>
            <ac:picMk id="7" creationId="{7E344E63-C17F-4FDA-3778-3472B892A7A1}"/>
          </ac:picMkLst>
        </pc:picChg>
        <pc:picChg chg="del">
          <ac:chgData name="Rafael Panlilio" userId="75e9542d-eb16-438e-8349-f2a93dbca0f5" providerId="ADAL" clId="{64066A28-FD23-4819-BA2F-B506D5EF2DA4}" dt="2022-09-02T09:53:14.912" v="129" actId="478"/>
          <ac:picMkLst>
            <pc:docMk/>
            <pc:sldMk cId="1676855521" sldId="2147471094"/>
            <ac:picMk id="7" creationId="{E6897C8E-4164-6AC5-0944-169D9F3125E5}"/>
          </ac:picMkLst>
        </pc:picChg>
        <pc:picChg chg="mod ord replST">
          <ac:chgData name="Rafael Panlilio" userId="75e9542d-eb16-438e-8349-f2a93dbca0f5" providerId="ADAL" clId="{64066A28-FD23-4819-BA2F-B506D5EF2DA4}" dt="2022-09-02T12:13:14.967" v="1051" actId="14100"/>
          <ac:picMkLst>
            <pc:docMk/>
            <pc:sldMk cId="1676855521" sldId="2147471094"/>
            <ac:picMk id="9" creationId="{62AC59EE-D203-4792-93D8-2A724D57B67D}"/>
          </ac:picMkLst>
        </pc:picChg>
      </pc:sldChg>
      <pc:sldChg chg="delSp modSp mod">
        <pc:chgData name="Rafael Panlilio" userId="75e9542d-eb16-438e-8349-f2a93dbca0f5" providerId="ADAL" clId="{64066A28-FD23-4819-BA2F-B506D5EF2DA4}" dt="2022-09-02T12:14:39.663" v="1068" actId="14100"/>
        <pc:sldMkLst>
          <pc:docMk/>
          <pc:sldMk cId="727943187" sldId="2147471102"/>
        </pc:sldMkLst>
        <pc:picChg chg="del mod ord replST">
          <ac:chgData name="Rafael Panlilio" userId="75e9542d-eb16-438e-8349-f2a93dbca0f5" providerId="ADAL" clId="{64066A28-FD23-4819-BA2F-B506D5EF2DA4}" dt="2022-09-02T12:10:47.408" v="788" actId="478"/>
          <ac:picMkLst>
            <pc:docMk/>
            <pc:sldMk cId="727943187" sldId="2147471102"/>
            <ac:picMk id="6" creationId="{AC7CDFB5-F3EF-A6E6-D443-705661B08A4A}"/>
          </ac:picMkLst>
        </pc:picChg>
        <pc:picChg chg="del mod ord replST">
          <ac:chgData name="Rafael Panlilio" userId="75e9542d-eb16-438e-8349-f2a93dbca0f5" providerId="ADAL" clId="{64066A28-FD23-4819-BA2F-B506D5EF2DA4}" dt="2022-09-02T12:14:20.080" v="1064" actId="478"/>
          <ac:picMkLst>
            <pc:docMk/>
            <pc:sldMk cId="727943187" sldId="2147471102"/>
            <ac:picMk id="7" creationId="{1F38B591-9FA6-7C45-4095-86A38A11C609}"/>
          </ac:picMkLst>
        </pc:picChg>
        <pc:picChg chg="del">
          <ac:chgData name="Rafael Panlilio" userId="75e9542d-eb16-438e-8349-f2a93dbca0f5" providerId="ADAL" clId="{64066A28-FD23-4819-BA2F-B506D5EF2DA4}" dt="2022-09-02T09:53:15.483" v="259" actId="478"/>
          <ac:picMkLst>
            <pc:docMk/>
            <pc:sldMk cId="727943187" sldId="2147471102"/>
            <ac:picMk id="7" creationId="{F8044896-A4D4-1799-052B-F776E31D159B}"/>
          </ac:picMkLst>
        </pc:picChg>
        <pc:picChg chg="mod ord replST">
          <ac:chgData name="Rafael Panlilio" userId="75e9542d-eb16-438e-8349-f2a93dbca0f5" providerId="ADAL" clId="{64066A28-FD23-4819-BA2F-B506D5EF2DA4}" dt="2022-09-02T12:14:39.663" v="1068" actId="14100"/>
          <ac:picMkLst>
            <pc:docMk/>
            <pc:sldMk cId="727943187" sldId="2147471102"/>
            <ac:picMk id="9" creationId="{DE308C47-C20C-7986-735C-828D97F35318}"/>
          </ac:picMkLst>
        </pc:picChg>
      </pc:sldChg>
      <pc:sldChg chg="delSp modSp mod">
        <pc:chgData name="Rafael Panlilio" userId="75e9542d-eb16-438e-8349-f2a93dbca0f5" providerId="ADAL" clId="{64066A28-FD23-4819-BA2F-B506D5EF2DA4}" dt="2022-09-02T12:10:47.437" v="801" actId="478"/>
        <pc:sldMkLst>
          <pc:docMk/>
          <pc:sldMk cId="153088919" sldId="2147471103"/>
        </pc:sldMkLst>
        <pc:picChg chg="del mod ord replST">
          <ac:chgData name="Rafael Panlilio" userId="75e9542d-eb16-438e-8349-f2a93dbca0f5" providerId="ADAL" clId="{64066A28-FD23-4819-BA2F-B506D5EF2DA4}" dt="2022-09-02T12:10:47.437" v="801" actId="478"/>
          <ac:picMkLst>
            <pc:docMk/>
            <pc:sldMk cId="153088919" sldId="2147471103"/>
            <ac:picMk id="6" creationId="{D8A4566F-0A24-D9FB-5C30-C4BDBE1939B3}"/>
          </ac:picMkLst>
        </pc:picChg>
        <pc:picChg chg="del">
          <ac:chgData name="Rafael Panlilio" userId="75e9542d-eb16-438e-8349-f2a93dbca0f5" providerId="ADAL" clId="{64066A28-FD23-4819-BA2F-B506D5EF2DA4}" dt="2022-09-02T09:53:15.519" v="272" actId="478"/>
          <ac:picMkLst>
            <pc:docMk/>
            <pc:sldMk cId="153088919" sldId="2147471103"/>
            <ac:picMk id="7" creationId="{0810B834-D503-0F5B-4166-5E178C35CFA5}"/>
          </ac:picMkLst>
        </pc:picChg>
        <pc:picChg chg="mod ord replST">
          <ac:chgData name="Rafael Panlilio" userId="75e9542d-eb16-438e-8349-f2a93dbca0f5" providerId="ADAL" clId="{64066A28-FD23-4819-BA2F-B506D5EF2DA4}" dt="2022-09-02T12:10:47.435" v="800" actId="688"/>
          <ac:picMkLst>
            <pc:docMk/>
            <pc:sldMk cId="153088919" sldId="2147471103"/>
            <ac:picMk id="7" creationId="{19A96726-0C74-8FC6-2238-5ECBB01A9C0E}"/>
          </ac:picMkLst>
        </pc:picChg>
      </pc:sldChg>
      <pc:sldChg chg="delSp modSp mod">
        <pc:chgData name="Rafael Panlilio" userId="75e9542d-eb16-438e-8349-f2a93dbca0f5" providerId="ADAL" clId="{64066A28-FD23-4819-BA2F-B506D5EF2DA4}" dt="2022-09-02T12:10:47.125" v="673" actId="478"/>
        <pc:sldMkLst>
          <pc:docMk/>
          <pc:sldMk cId="2412117130" sldId="2147471105"/>
        </pc:sldMkLst>
        <pc:picChg chg="del mod ord replST">
          <ac:chgData name="Rafael Panlilio" userId="75e9542d-eb16-438e-8349-f2a93dbca0f5" providerId="ADAL" clId="{64066A28-FD23-4819-BA2F-B506D5EF2DA4}" dt="2022-09-02T12:10:47.125" v="673" actId="478"/>
          <ac:picMkLst>
            <pc:docMk/>
            <pc:sldMk cId="2412117130" sldId="2147471105"/>
            <ac:picMk id="6" creationId="{D9CEECAD-10F2-310D-602C-597577425975}"/>
          </ac:picMkLst>
        </pc:picChg>
        <pc:picChg chg="mod ord replST">
          <ac:chgData name="Rafael Panlilio" userId="75e9542d-eb16-438e-8349-f2a93dbca0f5" providerId="ADAL" clId="{64066A28-FD23-4819-BA2F-B506D5EF2DA4}" dt="2022-09-02T12:10:47.123" v="672" actId="688"/>
          <ac:picMkLst>
            <pc:docMk/>
            <pc:sldMk cId="2412117130" sldId="2147471105"/>
            <ac:picMk id="7" creationId="{21FD6F86-D20F-AB15-B427-08D58AED6221}"/>
          </ac:picMkLst>
        </pc:picChg>
        <pc:picChg chg="del">
          <ac:chgData name="Rafael Panlilio" userId="75e9542d-eb16-438e-8349-f2a93dbca0f5" providerId="ADAL" clId="{64066A28-FD23-4819-BA2F-B506D5EF2DA4}" dt="2022-09-02T09:53:14.984" v="142" actId="478"/>
          <ac:picMkLst>
            <pc:docMk/>
            <pc:sldMk cId="2412117130" sldId="2147471105"/>
            <ac:picMk id="7" creationId="{3DE98451-D85A-AC74-53BD-10F554010AFE}"/>
          </ac:picMkLst>
        </pc:picChg>
      </pc:sldChg>
      <pc:sldChg chg="delSp modSp mod">
        <pc:chgData name="Rafael Panlilio" userId="75e9542d-eb16-438e-8349-f2a93dbca0f5" providerId="ADAL" clId="{64066A28-FD23-4819-BA2F-B506D5EF2DA4}" dt="2022-09-02T12:10:47.225" v="712" actId="478"/>
        <pc:sldMkLst>
          <pc:docMk/>
          <pc:sldMk cId="845064144" sldId="2147471108"/>
        </pc:sldMkLst>
        <pc:picChg chg="del mod ord replST">
          <ac:chgData name="Rafael Panlilio" userId="75e9542d-eb16-438e-8349-f2a93dbca0f5" providerId="ADAL" clId="{64066A28-FD23-4819-BA2F-B506D5EF2DA4}" dt="2022-09-02T12:10:47.225" v="712" actId="478"/>
          <ac:picMkLst>
            <pc:docMk/>
            <pc:sldMk cId="845064144" sldId="2147471108"/>
            <ac:picMk id="6" creationId="{A69617A5-858D-EFF3-4816-EA332ECDA684}"/>
          </ac:picMkLst>
        </pc:picChg>
        <pc:picChg chg="mod ord replST">
          <ac:chgData name="Rafael Panlilio" userId="75e9542d-eb16-438e-8349-f2a93dbca0f5" providerId="ADAL" clId="{64066A28-FD23-4819-BA2F-B506D5EF2DA4}" dt="2022-09-02T12:10:47.224" v="711" actId="688"/>
          <ac:picMkLst>
            <pc:docMk/>
            <pc:sldMk cId="845064144" sldId="2147471108"/>
            <ac:picMk id="7" creationId="{2D517CCB-75C4-55EF-CBD2-4916F3AF584F}"/>
          </ac:picMkLst>
        </pc:picChg>
        <pc:picChg chg="del">
          <ac:chgData name="Rafael Panlilio" userId="75e9542d-eb16-438e-8349-f2a93dbca0f5" providerId="ADAL" clId="{64066A28-FD23-4819-BA2F-B506D5EF2DA4}" dt="2022-09-02T09:53:15.175" v="181" actId="478"/>
          <ac:picMkLst>
            <pc:docMk/>
            <pc:sldMk cId="845064144" sldId="2147471108"/>
            <ac:picMk id="7" creationId="{9F5FAE3F-4122-9350-501E-030A948E9630}"/>
          </ac:picMkLst>
        </pc:picChg>
      </pc:sldChg>
      <pc:sldChg chg="delSp modSp mod">
        <pc:chgData name="Rafael Panlilio" userId="75e9542d-eb16-438e-8349-f2a93dbca0f5" providerId="ADAL" clId="{64066A28-FD23-4819-BA2F-B506D5EF2DA4}" dt="2022-09-02T12:10:47.316" v="751" actId="478"/>
        <pc:sldMkLst>
          <pc:docMk/>
          <pc:sldMk cId="3002400847" sldId="2147471111"/>
        </pc:sldMkLst>
        <pc:picChg chg="del mod ord replST">
          <ac:chgData name="Rafael Panlilio" userId="75e9542d-eb16-438e-8349-f2a93dbca0f5" providerId="ADAL" clId="{64066A28-FD23-4819-BA2F-B506D5EF2DA4}" dt="2022-09-02T12:10:47.316" v="751" actId="478"/>
          <ac:picMkLst>
            <pc:docMk/>
            <pc:sldMk cId="3002400847" sldId="2147471111"/>
            <ac:picMk id="6" creationId="{7E0E8334-8308-3B13-2EC3-DA471AE351FB}"/>
          </ac:picMkLst>
        </pc:picChg>
        <pc:picChg chg="mod ord replST">
          <ac:chgData name="Rafael Panlilio" userId="75e9542d-eb16-438e-8349-f2a93dbca0f5" providerId="ADAL" clId="{64066A28-FD23-4819-BA2F-B506D5EF2DA4}" dt="2022-09-02T12:10:47.314" v="750" actId="688"/>
          <ac:picMkLst>
            <pc:docMk/>
            <pc:sldMk cId="3002400847" sldId="2147471111"/>
            <ac:picMk id="7" creationId="{CE80B387-9FCC-D465-4D73-0020F5F606DF}"/>
          </ac:picMkLst>
        </pc:picChg>
        <pc:picChg chg="del">
          <ac:chgData name="Rafael Panlilio" userId="75e9542d-eb16-438e-8349-f2a93dbca0f5" providerId="ADAL" clId="{64066A28-FD23-4819-BA2F-B506D5EF2DA4}" dt="2022-09-02T09:53:15.319" v="220" actId="478"/>
          <ac:picMkLst>
            <pc:docMk/>
            <pc:sldMk cId="3002400847" sldId="2147471111"/>
            <ac:picMk id="7" creationId="{DB0FD842-A2B9-B3CA-0571-BA5629C62189}"/>
          </ac:picMkLst>
        </pc:picChg>
      </pc:sldChg>
      <pc:sldChg chg="delSp modSp mod">
        <pc:chgData name="Rafael Panlilio" userId="75e9542d-eb16-438e-8349-f2a93dbca0f5" providerId="ADAL" clId="{64066A28-FD23-4819-BA2F-B506D5EF2DA4}" dt="2022-09-02T12:10:47.597" v="866" actId="478"/>
        <pc:sldMkLst>
          <pc:docMk/>
          <pc:sldMk cId="3646405504" sldId="2147471115"/>
        </pc:sldMkLst>
        <pc:picChg chg="del mod ord replST">
          <ac:chgData name="Rafael Panlilio" userId="75e9542d-eb16-438e-8349-f2a93dbca0f5" providerId="ADAL" clId="{64066A28-FD23-4819-BA2F-B506D5EF2DA4}" dt="2022-09-02T12:10:47.597" v="866" actId="478"/>
          <ac:picMkLst>
            <pc:docMk/>
            <pc:sldMk cId="3646405504" sldId="2147471115"/>
            <ac:picMk id="6" creationId="{A8C2C49C-8472-573A-2394-1A395CF9E414}"/>
          </ac:picMkLst>
        </pc:picChg>
        <pc:picChg chg="mod ord replST">
          <ac:chgData name="Rafael Panlilio" userId="75e9542d-eb16-438e-8349-f2a93dbca0f5" providerId="ADAL" clId="{64066A28-FD23-4819-BA2F-B506D5EF2DA4}" dt="2022-09-02T12:10:47.595" v="865" actId="688"/>
          <ac:picMkLst>
            <pc:docMk/>
            <pc:sldMk cId="3646405504" sldId="2147471115"/>
            <ac:picMk id="7" creationId="{21AA8B90-082D-7707-C77C-7C89B2A08145}"/>
          </ac:picMkLst>
        </pc:picChg>
        <pc:picChg chg="del">
          <ac:chgData name="Rafael Panlilio" userId="75e9542d-eb16-438e-8349-f2a93dbca0f5" providerId="ADAL" clId="{64066A28-FD23-4819-BA2F-B506D5EF2DA4}" dt="2022-09-02T09:53:15.761" v="337" actId="478"/>
          <ac:picMkLst>
            <pc:docMk/>
            <pc:sldMk cId="3646405504" sldId="2147471115"/>
            <ac:picMk id="7" creationId="{4F660D33-E084-3D30-0A8A-DB9C484649FB}"/>
          </ac:picMkLst>
        </pc:picChg>
      </pc:sldChg>
      <pc:sldChg chg="delSp modSp mod">
        <pc:chgData name="Rafael Panlilio" userId="75e9542d-eb16-438e-8349-f2a93dbca0f5" providerId="ADAL" clId="{64066A28-FD23-4819-BA2F-B506D5EF2DA4}" dt="2022-09-02T12:10:47.643" v="879" actId="478"/>
        <pc:sldMkLst>
          <pc:docMk/>
          <pc:sldMk cId="2717968942" sldId="2147471117"/>
        </pc:sldMkLst>
        <pc:picChg chg="del mod ord replST">
          <ac:chgData name="Rafael Panlilio" userId="75e9542d-eb16-438e-8349-f2a93dbca0f5" providerId="ADAL" clId="{64066A28-FD23-4819-BA2F-B506D5EF2DA4}" dt="2022-09-02T12:10:47.643" v="879" actId="478"/>
          <ac:picMkLst>
            <pc:docMk/>
            <pc:sldMk cId="2717968942" sldId="2147471117"/>
            <ac:picMk id="6" creationId="{5A069E38-9728-11FF-2C8A-75720E8D0C60}"/>
          </ac:picMkLst>
        </pc:picChg>
        <pc:picChg chg="del">
          <ac:chgData name="Rafael Panlilio" userId="75e9542d-eb16-438e-8349-f2a93dbca0f5" providerId="ADAL" clId="{64066A28-FD23-4819-BA2F-B506D5EF2DA4}" dt="2022-09-02T09:53:15.839" v="350" actId="478"/>
          <ac:picMkLst>
            <pc:docMk/>
            <pc:sldMk cId="2717968942" sldId="2147471117"/>
            <ac:picMk id="7" creationId="{42FE2E29-C891-7C9A-37C5-64EDE75A1978}"/>
          </ac:picMkLst>
        </pc:picChg>
        <pc:picChg chg="mod ord replST">
          <ac:chgData name="Rafael Panlilio" userId="75e9542d-eb16-438e-8349-f2a93dbca0f5" providerId="ADAL" clId="{64066A28-FD23-4819-BA2F-B506D5EF2DA4}" dt="2022-09-02T12:10:47.641" v="878" actId="688"/>
          <ac:picMkLst>
            <pc:docMk/>
            <pc:sldMk cId="2717968942" sldId="2147471117"/>
            <ac:picMk id="7" creationId="{DEE8BD67-024A-D277-436B-92FFD1AB589F}"/>
          </ac:picMkLst>
        </pc:picChg>
      </pc:sldChg>
      <pc:sldChg chg="delSp modSp mod">
        <pc:chgData name="Rafael Panlilio" userId="75e9542d-eb16-438e-8349-f2a93dbca0f5" providerId="ADAL" clId="{64066A28-FD23-4819-BA2F-B506D5EF2DA4}" dt="2022-09-02T12:10:47.681" v="892" actId="478"/>
        <pc:sldMkLst>
          <pc:docMk/>
          <pc:sldMk cId="4140245646" sldId="2147471119"/>
        </pc:sldMkLst>
        <pc:picChg chg="del mod ord replST">
          <ac:chgData name="Rafael Panlilio" userId="75e9542d-eb16-438e-8349-f2a93dbca0f5" providerId="ADAL" clId="{64066A28-FD23-4819-BA2F-B506D5EF2DA4}" dt="2022-09-02T12:10:47.681" v="892" actId="478"/>
          <ac:picMkLst>
            <pc:docMk/>
            <pc:sldMk cId="4140245646" sldId="2147471119"/>
            <ac:picMk id="6" creationId="{76EF93A1-DCA6-8AB9-89C6-C9C00DBDD2C0}"/>
          </ac:picMkLst>
        </pc:picChg>
        <pc:picChg chg="mod ord replST">
          <ac:chgData name="Rafael Panlilio" userId="75e9542d-eb16-438e-8349-f2a93dbca0f5" providerId="ADAL" clId="{64066A28-FD23-4819-BA2F-B506D5EF2DA4}" dt="2022-09-02T12:10:47.679" v="891" actId="688"/>
          <ac:picMkLst>
            <pc:docMk/>
            <pc:sldMk cId="4140245646" sldId="2147471119"/>
            <ac:picMk id="7" creationId="{06EC6DD1-9C01-4EA6-27E2-B7921F132ED2}"/>
          </ac:picMkLst>
        </pc:picChg>
        <pc:picChg chg="del">
          <ac:chgData name="Rafael Panlilio" userId="75e9542d-eb16-438e-8349-f2a93dbca0f5" providerId="ADAL" clId="{64066A28-FD23-4819-BA2F-B506D5EF2DA4}" dt="2022-09-02T09:53:15.894" v="363" actId="478"/>
          <ac:picMkLst>
            <pc:docMk/>
            <pc:sldMk cId="4140245646" sldId="2147471119"/>
            <ac:picMk id="7" creationId="{4BA05EDD-1605-892B-E0D5-413CDFDE11FC}"/>
          </ac:picMkLst>
        </pc:picChg>
      </pc:sldChg>
      <pc:sldChg chg="delSp modSp mod">
        <pc:chgData name="Rafael Panlilio" userId="75e9542d-eb16-438e-8349-f2a93dbca0f5" providerId="ADAL" clId="{64066A28-FD23-4819-BA2F-B506D5EF2DA4}" dt="2022-09-02T12:10:47.712" v="905" actId="478"/>
        <pc:sldMkLst>
          <pc:docMk/>
          <pc:sldMk cId="2332036932" sldId="2147471121"/>
        </pc:sldMkLst>
        <pc:picChg chg="del mod ord replST">
          <ac:chgData name="Rafael Panlilio" userId="75e9542d-eb16-438e-8349-f2a93dbca0f5" providerId="ADAL" clId="{64066A28-FD23-4819-BA2F-B506D5EF2DA4}" dt="2022-09-02T12:10:47.712" v="905" actId="478"/>
          <ac:picMkLst>
            <pc:docMk/>
            <pc:sldMk cId="2332036932" sldId="2147471121"/>
            <ac:picMk id="6" creationId="{5336AC30-6441-639F-3F6D-9B35E73E036F}"/>
          </ac:picMkLst>
        </pc:picChg>
        <pc:picChg chg="del">
          <ac:chgData name="Rafael Panlilio" userId="75e9542d-eb16-438e-8349-f2a93dbca0f5" providerId="ADAL" clId="{64066A28-FD23-4819-BA2F-B506D5EF2DA4}" dt="2022-09-02T09:53:15.941" v="376" actId="478"/>
          <ac:picMkLst>
            <pc:docMk/>
            <pc:sldMk cId="2332036932" sldId="2147471121"/>
            <ac:picMk id="7" creationId="{215CB05A-AA0D-CAD0-1FF0-6D900813B088}"/>
          </ac:picMkLst>
        </pc:picChg>
        <pc:picChg chg="mod ord replST">
          <ac:chgData name="Rafael Panlilio" userId="75e9542d-eb16-438e-8349-f2a93dbca0f5" providerId="ADAL" clId="{64066A28-FD23-4819-BA2F-B506D5EF2DA4}" dt="2022-09-02T12:10:47.710" v="904" actId="688"/>
          <ac:picMkLst>
            <pc:docMk/>
            <pc:sldMk cId="2332036932" sldId="2147471121"/>
            <ac:picMk id="7" creationId="{3C925F2B-A75F-0642-7F64-99F221F7B6D4}"/>
          </ac:picMkLst>
        </pc:picChg>
      </pc:sldChg>
      <pc:sldChg chg="delSp modSp mod">
        <pc:chgData name="Rafael Panlilio" userId="75e9542d-eb16-438e-8349-f2a93dbca0f5" providerId="ADAL" clId="{64066A28-FD23-4819-BA2F-B506D5EF2DA4}" dt="2022-09-02T12:31:15.347" v="1083" actId="14100"/>
        <pc:sldMkLst>
          <pc:docMk/>
          <pc:sldMk cId="905696164" sldId="2147471122"/>
        </pc:sldMkLst>
        <pc:picChg chg="del mod ord replST">
          <ac:chgData name="Rafael Panlilio" userId="75e9542d-eb16-438e-8349-f2a93dbca0f5" providerId="ADAL" clId="{64066A28-FD23-4819-BA2F-B506D5EF2DA4}" dt="2022-09-02T12:10:47.743" v="916" actId="478"/>
          <ac:picMkLst>
            <pc:docMk/>
            <pc:sldMk cId="905696164" sldId="2147471122"/>
            <ac:picMk id="6" creationId="{E52A169A-F361-B0E9-94A4-3ECCC924DDE3}"/>
          </ac:picMkLst>
        </pc:picChg>
        <pc:picChg chg="del">
          <ac:chgData name="Rafael Panlilio" userId="75e9542d-eb16-438e-8349-f2a93dbca0f5" providerId="ADAL" clId="{64066A28-FD23-4819-BA2F-B506D5EF2DA4}" dt="2022-09-02T09:53:15.984" v="389" actId="478"/>
          <ac:picMkLst>
            <pc:docMk/>
            <pc:sldMk cId="905696164" sldId="2147471122"/>
            <ac:picMk id="7" creationId="{10B1D615-6C94-31C6-1937-9F008EC3FD51}"/>
          </ac:picMkLst>
        </pc:picChg>
        <pc:picChg chg="del mod ord replST">
          <ac:chgData name="Rafael Panlilio" userId="75e9542d-eb16-438e-8349-f2a93dbca0f5" providerId="ADAL" clId="{64066A28-FD23-4819-BA2F-B506D5EF2DA4}" dt="2022-09-02T12:30:34.762" v="1081" actId="478"/>
          <ac:picMkLst>
            <pc:docMk/>
            <pc:sldMk cId="905696164" sldId="2147471122"/>
            <ac:picMk id="7" creationId="{8E283B71-B5F3-8F78-F0E8-6BB675CC734F}"/>
          </ac:picMkLst>
        </pc:picChg>
        <pc:picChg chg="mod ord replST">
          <ac:chgData name="Rafael Panlilio" userId="75e9542d-eb16-438e-8349-f2a93dbca0f5" providerId="ADAL" clId="{64066A28-FD23-4819-BA2F-B506D5EF2DA4}" dt="2022-09-02T12:31:15.347" v="1083" actId="14100"/>
          <ac:picMkLst>
            <pc:docMk/>
            <pc:sldMk cId="905696164" sldId="2147471122"/>
            <ac:picMk id="9" creationId="{925363A9-47BF-52C2-CF68-8F2F08F32BF9}"/>
          </ac:picMkLst>
        </pc:picChg>
      </pc:sldChg>
      <pc:sldChg chg="delSp modSp mod">
        <pc:chgData name="Rafael Panlilio" userId="75e9542d-eb16-438e-8349-f2a93dbca0f5" providerId="ADAL" clId="{64066A28-FD23-4819-BA2F-B506D5EF2DA4}" dt="2022-09-02T12:10:47.773" v="929" actId="478"/>
        <pc:sldMkLst>
          <pc:docMk/>
          <pc:sldMk cId="68855429" sldId="2147471128"/>
        </pc:sldMkLst>
        <pc:picChg chg="del mod ord replST">
          <ac:chgData name="Rafael Panlilio" userId="75e9542d-eb16-438e-8349-f2a93dbca0f5" providerId="ADAL" clId="{64066A28-FD23-4819-BA2F-B506D5EF2DA4}" dt="2022-09-02T12:10:47.773" v="929" actId="478"/>
          <ac:picMkLst>
            <pc:docMk/>
            <pc:sldMk cId="68855429" sldId="2147471128"/>
            <ac:picMk id="6" creationId="{700F8495-90FD-EF6E-7E40-A44B943E226C}"/>
          </ac:picMkLst>
        </pc:picChg>
        <pc:picChg chg="del">
          <ac:chgData name="Rafael Panlilio" userId="75e9542d-eb16-438e-8349-f2a93dbca0f5" providerId="ADAL" clId="{64066A28-FD23-4819-BA2F-B506D5EF2DA4}" dt="2022-09-02T09:53:16.031" v="402" actId="478"/>
          <ac:picMkLst>
            <pc:docMk/>
            <pc:sldMk cId="68855429" sldId="2147471128"/>
            <ac:picMk id="7" creationId="{12AF9E26-3B24-CC26-6694-257D83D57412}"/>
          </ac:picMkLst>
        </pc:picChg>
        <pc:picChg chg="mod ord replST">
          <ac:chgData name="Rafael Panlilio" userId="75e9542d-eb16-438e-8349-f2a93dbca0f5" providerId="ADAL" clId="{64066A28-FD23-4819-BA2F-B506D5EF2DA4}" dt="2022-09-02T12:10:47.771" v="928" actId="688"/>
          <ac:picMkLst>
            <pc:docMk/>
            <pc:sldMk cId="68855429" sldId="2147471128"/>
            <ac:picMk id="7" creationId="{C14F0843-C13A-D85C-5670-D7DAA0BA4876}"/>
          </ac:picMkLst>
        </pc:picChg>
      </pc:sldChg>
      <pc:sldChg chg="delSp modSp mod">
        <pc:chgData name="Rafael Panlilio" userId="75e9542d-eb16-438e-8349-f2a93dbca0f5" providerId="ADAL" clId="{64066A28-FD23-4819-BA2F-B506D5EF2DA4}" dt="2022-09-02T12:10:47.809" v="942" actId="478"/>
        <pc:sldMkLst>
          <pc:docMk/>
          <pc:sldMk cId="3234314161" sldId="2147471133"/>
        </pc:sldMkLst>
        <pc:picChg chg="del mod ord replST">
          <ac:chgData name="Rafael Panlilio" userId="75e9542d-eb16-438e-8349-f2a93dbca0f5" providerId="ADAL" clId="{64066A28-FD23-4819-BA2F-B506D5EF2DA4}" dt="2022-09-02T12:10:47.809" v="942" actId="478"/>
          <ac:picMkLst>
            <pc:docMk/>
            <pc:sldMk cId="3234314161" sldId="2147471133"/>
            <ac:picMk id="6" creationId="{92F1D97F-DC1F-BD58-436B-404E7D3FCBC3}"/>
          </ac:picMkLst>
        </pc:picChg>
        <pc:picChg chg="mod ord replST">
          <ac:chgData name="Rafael Panlilio" userId="75e9542d-eb16-438e-8349-f2a93dbca0f5" providerId="ADAL" clId="{64066A28-FD23-4819-BA2F-B506D5EF2DA4}" dt="2022-09-02T12:10:47.808" v="941" actId="688"/>
          <ac:picMkLst>
            <pc:docMk/>
            <pc:sldMk cId="3234314161" sldId="2147471133"/>
            <ac:picMk id="7" creationId="{4FA21162-9436-B216-C3E9-222F96BADD61}"/>
          </ac:picMkLst>
        </pc:picChg>
        <pc:picChg chg="del">
          <ac:chgData name="Rafael Panlilio" userId="75e9542d-eb16-438e-8349-f2a93dbca0f5" providerId="ADAL" clId="{64066A28-FD23-4819-BA2F-B506D5EF2DA4}" dt="2022-09-02T09:53:16.122" v="415" actId="478"/>
          <ac:picMkLst>
            <pc:docMk/>
            <pc:sldMk cId="3234314161" sldId="2147471133"/>
            <ac:picMk id="7" creationId="{C89128CE-EA16-5890-7301-1F83CB9D3FCC}"/>
          </ac:picMkLst>
        </pc:picChg>
      </pc:sldChg>
      <pc:sldChg chg="delSp modSp mod">
        <pc:chgData name="Rafael Panlilio" userId="75e9542d-eb16-438e-8349-f2a93dbca0f5" providerId="ADAL" clId="{64066A28-FD23-4819-BA2F-B506D5EF2DA4}" dt="2022-09-02T12:10:47.837" v="955" actId="478"/>
        <pc:sldMkLst>
          <pc:docMk/>
          <pc:sldMk cId="4179995607" sldId="2147471135"/>
        </pc:sldMkLst>
        <pc:picChg chg="del mod ord replST">
          <ac:chgData name="Rafael Panlilio" userId="75e9542d-eb16-438e-8349-f2a93dbca0f5" providerId="ADAL" clId="{64066A28-FD23-4819-BA2F-B506D5EF2DA4}" dt="2022-09-02T12:10:47.837" v="955" actId="478"/>
          <ac:picMkLst>
            <pc:docMk/>
            <pc:sldMk cId="4179995607" sldId="2147471135"/>
            <ac:picMk id="6" creationId="{17C0D947-0DD6-F274-FF7A-5C59B22766DC}"/>
          </ac:picMkLst>
        </pc:picChg>
        <pc:picChg chg="mod ord replST">
          <ac:chgData name="Rafael Panlilio" userId="75e9542d-eb16-438e-8349-f2a93dbca0f5" providerId="ADAL" clId="{64066A28-FD23-4819-BA2F-B506D5EF2DA4}" dt="2022-09-02T12:10:47.835" v="954" actId="688"/>
          <ac:picMkLst>
            <pc:docMk/>
            <pc:sldMk cId="4179995607" sldId="2147471135"/>
            <ac:picMk id="7" creationId="{01F86034-468B-04C8-F82C-8E834796AF51}"/>
          </ac:picMkLst>
        </pc:picChg>
        <pc:picChg chg="del">
          <ac:chgData name="Rafael Panlilio" userId="75e9542d-eb16-438e-8349-f2a93dbca0f5" providerId="ADAL" clId="{64066A28-FD23-4819-BA2F-B506D5EF2DA4}" dt="2022-09-02T09:53:16.182" v="428" actId="478"/>
          <ac:picMkLst>
            <pc:docMk/>
            <pc:sldMk cId="4179995607" sldId="2147471135"/>
            <ac:picMk id="7" creationId="{2E1DBB60-2913-21B8-5104-AF09FCA74A2C}"/>
          </ac:picMkLst>
        </pc:picChg>
      </pc:sldChg>
      <pc:sldChg chg="delSp modSp mod">
        <pc:chgData name="Rafael Panlilio" userId="75e9542d-eb16-438e-8349-f2a93dbca0f5" providerId="ADAL" clId="{64066A28-FD23-4819-BA2F-B506D5EF2DA4}" dt="2022-09-02T12:10:47.865" v="968" actId="478"/>
        <pc:sldMkLst>
          <pc:docMk/>
          <pc:sldMk cId="1295330069" sldId="2147471137"/>
        </pc:sldMkLst>
        <pc:picChg chg="del mod ord replST">
          <ac:chgData name="Rafael Panlilio" userId="75e9542d-eb16-438e-8349-f2a93dbca0f5" providerId="ADAL" clId="{64066A28-FD23-4819-BA2F-B506D5EF2DA4}" dt="2022-09-02T12:10:47.865" v="968" actId="478"/>
          <ac:picMkLst>
            <pc:docMk/>
            <pc:sldMk cId="1295330069" sldId="2147471137"/>
            <ac:picMk id="6" creationId="{5AC12BB8-68AD-532F-033C-B4B0BF00B9D4}"/>
          </ac:picMkLst>
        </pc:picChg>
        <pc:picChg chg="mod ord replST">
          <ac:chgData name="Rafael Panlilio" userId="75e9542d-eb16-438e-8349-f2a93dbca0f5" providerId="ADAL" clId="{64066A28-FD23-4819-BA2F-B506D5EF2DA4}" dt="2022-09-02T12:10:47.863" v="967" actId="688"/>
          <ac:picMkLst>
            <pc:docMk/>
            <pc:sldMk cId="1295330069" sldId="2147471137"/>
            <ac:picMk id="7" creationId="{AAC75F01-2E0D-741A-AEFC-4D410D5B0B51}"/>
          </ac:picMkLst>
        </pc:picChg>
        <pc:picChg chg="del">
          <ac:chgData name="Rafael Panlilio" userId="75e9542d-eb16-438e-8349-f2a93dbca0f5" providerId="ADAL" clId="{64066A28-FD23-4819-BA2F-B506D5EF2DA4}" dt="2022-09-02T09:53:16.229" v="441" actId="478"/>
          <ac:picMkLst>
            <pc:docMk/>
            <pc:sldMk cId="1295330069" sldId="2147471137"/>
            <ac:picMk id="7" creationId="{CF5D45CC-61B9-F781-6303-1B4B9BC4EFD4}"/>
          </ac:picMkLst>
        </pc:picChg>
      </pc:sldChg>
      <pc:sldChg chg="delSp modSp mod">
        <pc:chgData name="Rafael Panlilio" userId="75e9542d-eb16-438e-8349-f2a93dbca0f5" providerId="ADAL" clId="{64066A28-FD23-4819-BA2F-B506D5EF2DA4}" dt="2022-09-02T12:10:47.898" v="981" actId="478"/>
        <pc:sldMkLst>
          <pc:docMk/>
          <pc:sldMk cId="468025275" sldId="2147471138"/>
        </pc:sldMkLst>
        <pc:picChg chg="del mod ord replST">
          <ac:chgData name="Rafael Panlilio" userId="75e9542d-eb16-438e-8349-f2a93dbca0f5" providerId="ADAL" clId="{64066A28-FD23-4819-BA2F-B506D5EF2DA4}" dt="2022-09-02T12:10:47.898" v="981" actId="478"/>
          <ac:picMkLst>
            <pc:docMk/>
            <pc:sldMk cId="468025275" sldId="2147471138"/>
            <ac:picMk id="6" creationId="{4EB03080-72F8-461B-8E08-DC124E252EDC}"/>
          </ac:picMkLst>
        </pc:picChg>
        <pc:picChg chg="mod ord replST">
          <ac:chgData name="Rafael Panlilio" userId="75e9542d-eb16-438e-8349-f2a93dbca0f5" providerId="ADAL" clId="{64066A28-FD23-4819-BA2F-B506D5EF2DA4}" dt="2022-09-02T12:10:47.896" v="980" actId="688"/>
          <ac:picMkLst>
            <pc:docMk/>
            <pc:sldMk cId="468025275" sldId="2147471138"/>
            <ac:picMk id="7" creationId="{3BCE1D8A-E3F3-649B-85E8-8F50C35A79B8}"/>
          </ac:picMkLst>
        </pc:picChg>
        <pc:picChg chg="del">
          <ac:chgData name="Rafael Panlilio" userId="75e9542d-eb16-438e-8349-f2a93dbca0f5" providerId="ADAL" clId="{64066A28-FD23-4819-BA2F-B506D5EF2DA4}" dt="2022-09-02T09:53:16.284" v="454" actId="478"/>
          <ac:picMkLst>
            <pc:docMk/>
            <pc:sldMk cId="468025275" sldId="2147471138"/>
            <ac:picMk id="7" creationId="{85E525AA-318E-15AB-093F-B34F22B6DE1E}"/>
          </ac:picMkLst>
        </pc:picChg>
      </pc:sldChg>
      <pc:sldChg chg="delSp modSp mod">
        <pc:chgData name="Rafael Panlilio" userId="75e9542d-eb16-438e-8349-f2a93dbca0f5" providerId="ADAL" clId="{64066A28-FD23-4819-BA2F-B506D5EF2DA4}" dt="2022-09-02T12:10:47.931" v="994" actId="478"/>
        <pc:sldMkLst>
          <pc:docMk/>
          <pc:sldMk cId="2379583071" sldId="2147471139"/>
        </pc:sldMkLst>
        <pc:picChg chg="del mod ord replST">
          <ac:chgData name="Rafael Panlilio" userId="75e9542d-eb16-438e-8349-f2a93dbca0f5" providerId="ADAL" clId="{64066A28-FD23-4819-BA2F-B506D5EF2DA4}" dt="2022-09-02T12:10:47.931" v="994" actId="478"/>
          <ac:picMkLst>
            <pc:docMk/>
            <pc:sldMk cId="2379583071" sldId="2147471139"/>
            <ac:picMk id="6" creationId="{34D56008-D635-6F18-0025-C56AA5FA95ED}"/>
          </ac:picMkLst>
        </pc:picChg>
        <pc:picChg chg="mod ord replST">
          <ac:chgData name="Rafael Panlilio" userId="75e9542d-eb16-438e-8349-f2a93dbca0f5" providerId="ADAL" clId="{64066A28-FD23-4819-BA2F-B506D5EF2DA4}" dt="2022-09-02T12:10:47.929" v="993" actId="688"/>
          <ac:picMkLst>
            <pc:docMk/>
            <pc:sldMk cId="2379583071" sldId="2147471139"/>
            <ac:picMk id="7" creationId="{0E759C0F-FCC8-7956-5383-9363E00BBF12}"/>
          </ac:picMkLst>
        </pc:picChg>
        <pc:picChg chg="del">
          <ac:chgData name="Rafael Panlilio" userId="75e9542d-eb16-438e-8349-f2a93dbca0f5" providerId="ADAL" clId="{64066A28-FD23-4819-BA2F-B506D5EF2DA4}" dt="2022-09-02T09:53:16.345" v="467" actId="478"/>
          <ac:picMkLst>
            <pc:docMk/>
            <pc:sldMk cId="2379583071" sldId="2147471139"/>
            <ac:picMk id="7" creationId="{E30F2EE2-5C4B-8C20-49BD-F7ED77234836}"/>
          </ac:picMkLst>
        </pc:picChg>
      </pc:sldChg>
      <pc:sldChg chg="delSp modSp mod">
        <pc:chgData name="Rafael Panlilio" userId="75e9542d-eb16-438e-8349-f2a93dbca0f5" providerId="ADAL" clId="{64066A28-FD23-4819-BA2F-B506D5EF2DA4}" dt="2022-09-02T12:10:47.961" v="1007" actId="478"/>
        <pc:sldMkLst>
          <pc:docMk/>
          <pc:sldMk cId="1439932868" sldId="2147471140"/>
        </pc:sldMkLst>
        <pc:picChg chg="del mod ord replST">
          <ac:chgData name="Rafael Panlilio" userId="75e9542d-eb16-438e-8349-f2a93dbca0f5" providerId="ADAL" clId="{64066A28-FD23-4819-BA2F-B506D5EF2DA4}" dt="2022-09-02T12:10:47.961" v="1007" actId="478"/>
          <ac:picMkLst>
            <pc:docMk/>
            <pc:sldMk cId="1439932868" sldId="2147471140"/>
            <ac:picMk id="6" creationId="{04DDC1C1-E417-7C93-07B2-F7CCFBFB1348}"/>
          </ac:picMkLst>
        </pc:picChg>
        <pc:picChg chg="mod ord replST">
          <ac:chgData name="Rafael Panlilio" userId="75e9542d-eb16-438e-8349-f2a93dbca0f5" providerId="ADAL" clId="{64066A28-FD23-4819-BA2F-B506D5EF2DA4}" dt="2022-09-02T12:10:47.959" v="1006" actId="688"/>
          <ac:picMkLst>
            <pc:docMk/>
            <pc:sldMk cId="1439932868" sldId="2147471140"/>
            <ac:picMk id="7" creationId="{38B1A9E4-22F6-F92B-3297-3D20682A8D61}"/>
          </ac:picMkLst>
        </pc:picChg>
        <pc:picChg chg="del">
          <ac:chgData name="Rafael Panlilio" userId="75e9542d-eb16-438e-8349-f2a93dbca0f5" providerId="ADAL" clId="{64066A28-FD23-4819-BA2F-B506D5EF2DA4}" dt="2022-09-02T09:53:16.395" v="480" actId="478"/>
          <ac:picMkLst>
            <pc:docMk/>
            <pc:sldMk cId="1439932868" sldId="2147471140"/>
            <ac:picMk id="9" creationId="{521C2C48-AD93-21E4-A356-B2477358661B}"/>
          </ac:picMkLst>
        </pc:picChg>
      </pc:sldChg>
      <pc:sldChg chg="delSp modSp mod">
        <pc:chgData name="Rafael Panlilio" userId="75e9542d-eb16-438e-8349-f2a93dbca0f5" providerId="ADAL" clId="{64066A28-FD23-4819-BA2F-B506D5EF2DA4}" dt="2022-09-02T12:10:48.004" v="1020" actId="478"/>
        <pc:sldMkLst>
          <pc:docMk/>
          <pc:sldMk cId="2428794060" sldId="2147471141"/>
        </pc:sldMkLst>
        <pc:picChg chg="del mod ord replST">
          <ac:chgData name="Rafael Panlilio" userId="75e9542d-eb16-438e-8349-f2a93dbca0f5" providerId="ADAL" clId="{64066A28-FD23-4819-BA2F-B506D5EF2DA4}" dt="2022-09-02T12:10:48.004" v="1020" actId="478"/>
          <ac:picMkLst>
            <pc:docMk/>
            <pc:sldMk cId="2428794060" sldId="2147471141"/>
            <ac:picMk id="3" creationId="{675DFF04-8F07-732C-8358-1724F717A321}"/>
          </ac:picMkLst>
        </pc:picChg>
        <pc:picChg chg="mod ord replST">
          <ac:chgData name="Rafael Panlilio" userId="75e9542d-eb16-438e-8349-f2a93dbca0f5" providerId="ADAL" clId="{64066A28-FD23-4819-BA2F-B506D5EF2DA4}" dt="2022-09-02T12:10:48.001" v="1019" actId="688"/>
          <ac:picMkLst>
            <pc:docMk/>
            <pc:sldMk cId="2428794060" sldId="2147471141"/>
            <ac:picMk id="4" creationId="{D054691B-53C7-5651-F640-018A5065A65B}"/>
          </ac:picMkLst>
        </pc:picChg>
        <pc:picChg chg="del">
          <ac:chgData name="Rafael Panlilio" userId="75e9542d-eb16-438e-8349-f2a93dbca0f5" providerId="ADAL" clId="{64066A28-FD23-4819-BA2F-B506D5EF2DA4}" dt="2022-09-02T09:53:16.463" v="493" actId="478"/>
          <ac:picMkLst>
            <pc:docMk/>
            <pc:sldMk cId="2428794060" sldId="2147471141"/>
            <ac:picMk id="13" creationId="{A33C97DE-3692-7C2F-2D83-C087C9573AFC}"/>
          </ac:picMkLst>
        </pc:picChg>
      </pc:sldChg>
      <pc:sldChg chg="delSp modSp mod">
        <pc:chgData name="Rafael Panlilio" userId="75e9542d-eb16-438e-8349-f2a93dbca0f5" providerId="ADAL" clId="{64066A28-FD23-4819-BA2F-B506D5EF2DA4}" dt="2022-09-02T12:10:48.038" v="1033" actId="478"/>
        <pc:sldMkLst>
          <pc:docMk/>
          <pc:sldMk cId="2379146193" sldId="2147471142"/>
        </pc:sldMkLst>
        <pc:picChg chg="del mod ord replST">
          <ac:chgData name="Rafael Panlilio" userId="75e9542d-eb16-438e-8349-f2a93dbca0f5" providerId="ADAL" clId="{64066A28-FD23-4819-BA2F-B506D5EF2DA4}" dt="2022-09-02T10:02:31.421" v="532" actId="478"/>
          <ac:picMkLst>
            <pc:docMk/>
            <pc:sldMk cId="2379146193" sldId="2147471142"/>
            <ac:picMk id="3" creationId="{96CC7845-A3B1-60C0-A4EC-0D2779335E02}"/>
          </ac:picMkLst>
        </pc:picChg>
        <pc:picChg chg="mod ord replST">
          <ac:chgData name="Rafael Panlilio" userId="75e9542d-eb16-438e-8349-f2a93dbca0f5" providerId="ADAL" clId="{64066A28-FD23-4819-BA2F-B506D5EF2DA4}" dt="2022-09-02T12:10:48.034" v="1032" actId="688"/>
          <ac:picMkLst>
            <pc:docMk/>
            <pc:sldMk cId="2379146193" sldId="2147471142"/>
            <ac:picMk id="3" creationId="{A773AE30-ED7B-2C59-4D2D-AD2A4B4B84F4}"/>
          </ac:picMkLst>
        </pc:picChg>
        <pc:picChg chg="del mod ord replST">
          <ac:chgData name="Rafael Panlilio" userId="75e9542d-eb16-438e-8349-f2a93dbca0f5" providerId="ADAL" clId="{64066A28-FD23-4819-BA2F-B506D5EF2DA4}" dt="2022-09-02T12:10:48.038" v="1033" actId="478"/>
          <ac:picMkLst>
            <pc:docMk/>
            <pc:sldMk cId="2379146193" sldId="2147471142"/>
            <ac:picMk id="5" creationId="{5DBFDA74-23AF-7561-27F8-DC8ADF8BDD6C}"/>
          </ac:picMkLst>
        </pc:picChg>
        <pc:picChg chg="del">
          <ac:chgData name="Rafael Panlilio" userId="75e9542d-eb16-438e-8349-f2a93dbca0f5" providerId="ADAL" clId="{64066A28-FD23-4819-BA2F-B506D5EF2DA4}" dt="2022-09-02T09:53:16.540" v="506" actId="478"/>
          <ac:picMkLst>
            <pc:docMk/>
            <pc:sldMk cId="2379146193" sldId="2147471142"/>
            <ac:picMk id="15" creationId="{277E5211-C346-CD42-E869-42EB18B3115A}"/>
          </ac:picMkLst>
        </pc:picChg>
      </pc:sldChg>
      <pc:sldChg chg="delSp modSp mod">
        <pc:chgData name="Rafael Panlilio" userId="75e9542d-eb16-438e-8349-f2a93dbca0f5" providerId="ADAL" clId="{64066A28-FD23-4819-BA2F-B506D5EF2DA4}" dt="2022-09-02T12:10:47.375" v="777" actId="478"/>
        <pc:sldMkLst>
          <pc:docMk/>
          <pc:sldMk cId="597321910" sldId="2147471143"/>
        </pc:sldMkLst>
        <pc:picChg chg="del mod ord replST">
          <ac:chgData name="Rafael Panlilio" userId="75e9542d-eb16-438e-8349-f2a93dbca0f5" providerId="ADAL" clId="{64066A28-FD23-4819-BA2F-B506D5EF2DA4}" dt="2022-09-02T12:10:47.375" v="777" actId="478"/>
          <ac:picMkLst>
            <pc:docMk/>
            <pc:sldMk cId="597321910" sldId="2147471143"/>
            <ac:picMk id="6" creationId="{2803B1F9-4CC6-FDB4-1B6B-B28959E7355A}"/>
          </ac:picMkLst>
        </pc:picChg>
        <pc:picChg chg="mod ord replST">
          <ac:chgData name="Rafael Panlilio" userId="75e9542d-eb16-438e-8349-f2a93dbca0f5" providerId="ADAL" clId="{64066A28-FD23-4819-BA2F-B506D5EF2DA4}" dt="2022-09-02T12:10:47.373" v="776" actId="688"/>
          <ac:picMkLst>
            <pc:docMk/>
            <pc:sldMk cId="597321910" sldId="2147471143"/>
            <ac:picMk id="7" creationId="{4F29C9D2-E20D-4572-5596-B386AA4307DC}"/>
          </ac:picMkLst>
        </pc:picChg>
        <pc:picChg chg="del">
          <ac:chgData name="Rafael Panlilio" userId="75e9542d-eb16-438e-8349-f2a93dbca0f5" providerId="ADAL" clId="{64066A28-FD23-4819-BA2F-B506D5EF2DA4}" dt="2022-09-02T09:53:15.431" v="246" actId="478"/>
          <ac:picMkLst>
            <pc:docMk/>
            <pc:sldMk cId="597321910" sldId="2147471143"/>
            <ac:picMk id="7" creationId="{D2F8792B-5D21-62E4-73F1-F7FB90EF2104}"/>
          </ac:picMkLst>
        </pc:picChg>
      </pc:sldChg>
      <pc:sldChg chg="delSp modSp mod">
        <pc:chgData name="Rafael Panlilio" userId="75e9542d-eb16-438e-8349-f2a93dbca0f5" providerId="ADAL" clId="{64066A28-FD23-4819-BA2F-B506D5EF2DA4}" dt="2022-09-02T12:10:47.284" v="738" actId="478"/>
        <pc:sldMkLst>
          <pc:docMk/>
          <pc:sldMk cId="4050857760" sldId="2147471144"/>
        </pc:sldMkLst>
        <pc:picChg chg="del mod ord replST">
          <ac:chgData name="Rafael Panlilio" userId="75e9542d-eb16-438e-8349-f2a93dbca0f5" providerId="ADAL" clId="{64066A28-FD23-4819-BA2F-B506D5EF2DA4}" dt="2022-09-02T12:10:47.284" v="738" actId="478"/>
          <ac:picMkLst>
            <pc:docMk/>
            <pc:sldMk cId="4050857760" sldId="2147471144"/>
            <ac:picMk id="6" creationId="{67AC4892-E3EE-B5D2-F21D-BD3D1D072E5B}"/>
          </ac:picMkLst>
        </pc:picChg>
        <pc:picChg chg="mod ord replST">
          <ac:chgData name="Rafael Panlilio" userId="75e9542d-eb16-438e-8349-f2a93dbca0f5" providerId="ADAL" clId="{64066A28-FD23-4819-BA2F-B506D5EF2DA4}" dt="2022-09-02T12:10:47.283" v="737" actId="688"/>
          <ac:picMkLst>
            <pc:docMk/>
            <pc:sldMk cId="4050857760" sldId="2147471144"/>
            <ac:picMk id="7" creationId="{7C3A8B45-5B5C-7CF7-246F-312A14FC834D}"/>
          </ac:picMkLst>
        </pc:picChg>
        <pc:picChg chg="del">
          <ac:chgData name="Rafael Panlilio" userId="75e9542d-eb16-438e-8349-f2a93dbca0f5" providerId="ADAL" clId="{64066A28-FD23-4819-BA2F-B506D5EF2DA4}" dt="2022-09-02T09:53:15.270" v="207" actId="478"/>
          <ac:picMkLst>
            <pc:docMk/>
            <pc:sldMk cId="4050857760" sldId="2147471144"/>
            <ac:picMk id="7" creationId="{8BE8A361-0283-036E-F722-6359954516A7}"/>
          </ac:picMkLst>
        </pc:picChg>
      </pc:sldChg>
      <pc:sldChg chg="delSp modSp mod">
        <pc:chgData name="Rafael Panlilio" userId="75e9542d-eb16-438e-8349-f2a93dbca0f5" providerId="ADAL" clId="{64066A28-FD23-4819-BA2F-B506D5EF2DA4}" dt="2022-09-02T12:10:47.189" v="699" actId="478"/>
        <pc:sldMkLst>
          <pc:docMk/>
          <pc:sldMk cId="3028177044" sldId="2147471145"/>
        </pc:sldMkLst>
        <pc:picChg chg="del mod ord replST">
          <ac:chgData name="Rafael Panlilio" userId="75e9542d-eb16-438e-8349-f2a93dbca0f5" providerId="ADAL" clId="{64066A28-FD23-4819-BA2F-B506D5EF2DA4}" dt="2022-09-02T12:10:47.189" v="699" actId="478"/>
          <ac:picMkLst>
            <pc:docMk/>
            <pc:sldMk cId="3028177044" sldId="2147471145"/>
            <ac:picMk id="6" creationId="{2095C52B-5EA3-D50C-EC44-5A0AA4033D7D}"/>
          </ac:picMkLst>
        </pc:picChg>
        <pc:picChg chg="del">
          <ac:chgData name="Rafael Panlilio" userId="75e9542d-eb16-438e-8349-f2a93dbca0f5" providerId="ADAL" clId="{64066A28-FD23-4819-BA2F-B506D5EF2DA4}" dt="2022-09-02T09:53:15.116" v="168" actId="478"/>
          <ac:picMkLst>
            <pc:docMk/>
            <pc:sldMk cId="3028177044" sldId="2147471145"/>
            <ac:picMk id="7" creationId="{5EFA0727-B0A0-FB56-0B23-42C61A8414CE}"/>
          </ac:picMkLst>
        </pc:picChg>
        <pc:picChg chg="mod ord replST">
          <ac:chgData name="Rafael Panlilio" userId="75e9542d-eb16-438e-8349-f2a93dbca0f5" providerId="ADAL" clId="{64066A28-FD23-4819-BA2F-B506D5EF2DA4}" dt="2022-09-02T12:10:47.187" v="698" actId="688"/>
          <ac:picMkLst>
            <pc:docMk/>
            <pc:sldMk cId="3028177044" sldId="2147471145"/>
            <ac:picMk id="7" creationId="{AC314414-EBF9-9C36-DFB3-3150A18B2603}"/>
          </ac:picMkLst>
        </pc:picChg>
      </pc:sldChg>
      <pc:sldChg chg="delSp modSp mod">
        <pc:chgData name="Rafael Panlilio" userId="75e9542d-eb16-438e-8349-f2a93dbca0f5" providerId="ADAL" clId="{64066A28-FD23-4819-BA2F-B506D5EF2DA4}" dt="2022-09-02T12:10:47.344" v="764" actId="478"/>
        <pc:sldMkLst>
          <pc:docMk/>
          <pc:sldMk cId="3962377011" sldId="2147471146"/>
        </pc:sldMkLst>
        <pc:picChg chg="del mod ord replST">
          <ac:chgData name="Rafael Panlilio" userId="75e9542d-eb16-438e-8349-f2a93dbca0f5" providerId="ADAL" clId="{64066A28-FD23-4819-BA2F-B506D5EF2DA4}" dt="2022-09-02T12:10:47.344" v="764" actId="478"/>
          <ac:picMkLst>
            <pc:docMk/>
            <pc:sldMk cId="3962377011" sldId="2147471146"/>
            <ac:picMk id="6" creationId="{51DED34E-FD98-0FF9-F2E4-9993E2C11C20}"/>
          </ac:picMkLst>
        </pc:picChg>
        <pc:picChg chg="del">
          <ac:chgData name="Rafael Panlilio" userId="75e9542d-eb16-438e-8349-f2a93dbca0f5" providerId="ADAL" clId="{64066A28-FD23-4819-BA2F-B506D5EF2DA4}" dt="2022-09-02T09:53:15.365" v="233" actId="478"/>
          <ac:picMkLst>
            <pc:docMk/>
            <pc:sldMk cId="3962377011" sldId="2147471146"/>
            <ac:picMk id="7" creationId="{4D067D5A-AE17-FBBF-FC5A-E2F27093A620}"/>
          </ac:picMkLst>
        </pc:picChg>
        <pc:picChg chg="mod ord replST">
          <ac:chgData name="Rafael Panlilio" userId="75e9542d-eb16-438e-8349-f2a93dbca0f5" providerId="ADAL" clId="{64066A28-FD23-4819-BA2F-B506D5EF2DA4}" dt="2022-09-02T12:10:47.342" v="763" actId="688"/>
          <ac:picMkLst>
            <pc:docMk/>
            <pc:sldMk cId="3962377011" sldId="2147471146"/>
            <ac:picMk id="7" creationId="{56CEC0FE-7EFC-13C3-0BF3-AD9B078DB045}"/>
          </ac:picMkLst>
        </pc:picChg>
      </pc:sldChg>
      <pc:sldChg chg="delSp modSp mod">
        <pc:chgData name="Rafael Panlilio" userId="75e9542d-eb16-438e-8349-f2a93dbca0f5" providerId="ADAL" clId="{64066A28-FD23-4819-BA2F-B506D5EF2DA4}" dt="2022-09-02T12:10:47.157" v="686" actId="478"/>
        <pc:sldMkLst>
          <pc:docMk/>
          <pc:sldMk cId="1586028119" sldId="2147471149"/>
        </pc:sldMkLst>
        <pc:picChg chg="del mod ord replST">
          <ac:chgData name="Rafael Panlilio" userId="75e9542d-eb16-438e-8349-f2a93dbca0f5" providerId="ADAL" clId="{64066A28-FD23-4819-BA2F-B506D5EF2DA4}" dt="2022-09-02T12:10:47.157" v="686" actId="478"/>
          <ac:picMkLst>
            <pc:docMk/>
            <pc:sldMk cId="1586028119" sldId="2147471149"/>
            <ac:picMk id="6" creationId="{6E957C3E-28BA-DE2D-9200-5223B465BB5F}"/>
          </ac:picMkLst>
        </pc:picChg>
        <pc:picChg chg="del">
          <ac:chgData name="Rafael Panlilio" userId="75e9542d-eb16-438e-8349-f2a93dbca0f5" providerId="ADAL" clId="{64066A28-FD23-4819-BA2F-B506D5EF2DA4}" dt="2022-09-02T09:53:15.049" v="155" actId="478"/>
          <ac:picMkLst>
            <pc:docMk/>
            <pc:sldMk cId="1586028119" sldId="2147471149"/>
            <ac:picMk id="7" creationId="{6742DCBE-1145-7D08-2101-030DD2E0B3B3}"/>
          </ac:picMkLst>
        </pc:picChg>
        <pc:picChg chg="mod ord replST">
          <ac:chgData name="Rafael Panlilio" userId="75e9542d-eb16-438e-8349-f2a93dbca0f5" providerId="ADAL" clId="{64066A28-FD23-4819-BA2F-B506D5EF2DA4}" dt="2022-09-02T12:10:47.155" v="685" actId="688"/>
          <ac:picMkLst>
            <pc:docMk/>
            <pc:sldMk cId="1586028119" sldId="2147471149"/>
            <ac:picMk id="7" creationId="{D0998D7F-8458-E76B-46E4-A477A53283C3}"/>
          </ac:picMkLst>
        </pc:picChg>
      </pc:sldChg>
      <pc:sldChg chg="delSp modSp mod">
        <pc:chgData name="Rafael Panlilio" userId="75e9542d-eb16-438e-8349-f2a93dbca0f5" providerId="ADAL" clId="{64066A28-FD23-4819-BA2F-B506D5EF2DA4}" dt="2022-09-02T12:10:47.258" v="725" actId="478"/>
        <pc:sldMkLst>
          <pc:docMk/>
          <pc:sldMk cId="2192431966" sldId="2147471150"/>
        </pc:sldMkLst>
        <pc:picChg chg="del mod ord replST">
          <ac:chgData name="Rafael Panlilio" userId="75e9542d-eb16-438e-8349-f2a93dbca0f5" providerId="ADAL" clId="{64066A28-FD23-4819-BA2F-B506D5EF2DA4}" dt="2022-09-02T12:10:47.258" v="725" actId="478"/>
          <ac:picMkLst>
            <pc:docMk/>
            <pc:sldMk cId="2192431966" sldId="2147471150"/>
            <ac:picMk id="6" creationId="{72DDF1D3-0CB6-DE04-1816-9DC14F388CD7}"/>
          </ac:picMkLst>
        </pc:picChg>
        <pc:picChg chg="del">
          <ac:chgData name="Rafael Panlilio" userId="75e9542d-eb16-438e-8349-f2a93dbca0f5" providerId="ADAL" clId="{64066A28-FD23-4819-BA2F-B506D5EF2DA4}" dt="2022-09-02T09:53:15.220" v="194" actId="478"/>
          <ac:picMkLst>
            <pc:docMk/>
            <pc:sldMk cId="2192431966" sldId="2147471150"/>
            <ac:picMk id="7" creationId="{4DD2EA4E-7F0D-4AE7-BCE7-AE8C6ADE6DFF}"/>
          </ac:picMkLst>
        </pc:picChg>
        <pc:picChg chg="mod ord replST">
          <ac:chgData name="Rafael Panlilio" userId="75e9542d-eb16-438e-8349-f2a93dbca0f5" providerId="ADAL" clId="{64066A28-FD23-4819-BA2F-B506D5EF2DA4}" dt="2022-09-02T12:10:47.256" v="724" actId="688"/>
          <ac:picMkLst>
            <pc:docMk/>
            <pc:sldMk cId="2192431966" sldId="2147471150"/>
            <ac:picMk id="7" creationId="{E5BAA5CF-C911-4009-3D2C-7ADF6330657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 September 2022</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 September 2022</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 September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1" name="Slide Image Placeholder 50">
            <a:extLst>
              <a:ext uri="{FF2B5EF4-FFF2-40B4-BE49-F238E27FC236}">
                <a16:creationId xmlns:a16="http://schemas.microsoft.com/office/drawing/2014/main" id="{DCE3710F-2356-44F5-A47E-3DFCE8CD483E}"/>
              </a:ext>
            </a:extLst>
          </p:cNvPr>
          <p:cNvSpPr>
            <a:spLocks noGrp="1" noRot="1" noChangeAspect="1"/>
          </p:cNvSpPr>
          <p:nvPr>
            <p:ph type="sldImg"/>
          </p:nvPr>
        </p:nvSpPr>
        <p:spPr>
          <a:xfrm>
            <a:off x="735013" y="563563"/>
            <a:ext cx="5632450" cy="3168650"/>
          </a:xfrm>
        </p:spPr>
      </p:sp>
      <p:sp>
        <p:nvSpPr>
          <p:cNvPr id="2" name="Notes Placeholder 1">
            <a:extLst>
              <a:ext uri="{FF2B5EF4-FFF2-40B4-BE49-F238E27FC236}">
                <a16:creationId xmlns:a16="http://schemas.microsoft.com/office/drawing/2014/main" id="{4930D93E-4353-CFF5-E2DD-B22792E8B7FB}"/>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8871868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7</a:t>
            </a:fld>
            <a:endParaRPr lang="en-US"/>
          </a:p>
        </p:txBody>
      </p:sp>
    </p:spTree>
    <p:extLst>
      <p:ext uri="{BB962C8B-B14F-4D97-AF65-F5344CB8AC3E}">
        <p14:creationId xmlns:p14="http://schemas.microsoft.com/office/powerpoint/2010/main" val="38696639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0</a:t>
            </a:fld>
            <a:endParaRPr lang="en-US"/>
          </a:p>
        </p:txBody>
      </p:sp>
    </p:spTree>
    <p:extLst>
      <p:ext uri="{BB962C8B-B14F-4D97-AF65-F5344CB8AC3E}">
        <p14:creationId xmlns:p14="http://schemas.microsoft.com/office/powerpoint/2010/main" val="1712956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3</a:t>
            </a:fld>
            <a:endParaRPr lang="en-US"/>
          </a:p>
        </p:txBody>
      </p:sp>
    </p:spTree>
    <p:extLst>
      <p:ext uri="{BB962C8B-B14F-4D97-AF65-F5344CB8AC3E}">
        <p14:creationId xmlns:p14="http://schemas.microsoft.com/office/powerpoint/2010/main" val="14391372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en-US" sz="1100" b="0" i="0" u="none" strike="noStrike">
              <a:solidFill>
                <a:srgbClr val="000000"/>
              </a:solidFill>
              <a:effectLst/>
              <a:latin typeface="Calibri" panose="020F0502020204030204" pitchFamily="34" charset="0"/>
            </a:endParaRPr>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9</a:t>
            </a:fld>
            <a:endParaRPr lang="en-US"/>
          </a:p>
        </p:txBody>
      </p:sp>
    </p:spTree>
    <p:extLst>
      <p:ext uri="{BB962C8B-B14F-4D97-AF65-F5344CB8AC3E}">
        <p14:creationId xmlns:p14="http://schemas.microsoft.com/office/powerpoint/2010/main" val="14491836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rtl="0">
              <a:spcBef>
                <a:spcPts val="0"/>
              </a:spcBef>
              <a:spcAft>
                <a:spcPts val="0"/>
              </a:spcAft>
            </a:pPr>
            <a:endParaRPr lang="en-US" b="0">
              <a:effectLst/>
            </a:endParaRPr>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0</a:t>
            </a:fld>
            <a:endParaRPr lang="en-US"/>
          </a:p>
        </p:txBody>
      </p:sp>
    </p:spTree>
    <p:extLst>
      <p:ext uri="{BB962C8B-B14F-4D97-AF65-F5344CB8AC3E}">
        <p14:creationId xmlns:p14="http://schemas.microsoft.com/office/powerpoint/2010/main" val="9234854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en-US"/>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1</a:t>
            </a:fld>
            <a:endParaRPr lang="en-US"/>
          </a:p>
        </p:txBody>
      </p:sp>
    </p:spTree>
    <p:extLst>
      <p:ext uri="{BB962C8B-B14F-4D97-AF65-F5344CB8AC3E}">
        <p14:creationId xmlns:p14="http://schemas.microsoft.com/office/powerpoint/2010/main" val="16973305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rtl="0">
              <a:spcBef>
                <a:spcPts val="0"/>
              </a:spcBef>
              <a:spcAft>
                <a:spcPts val="0"/>
              </a:spcAft>
            </a:pPr>
            <a:endParaRPr lang="en-US" b="0">
              <a:effectLst/>
            </a:endParaRPr>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2</a:t>
            </a:fld>
            <a:endParaRPr lang="en-US"/>
          </a:p>
        </p:txBody>
      </p:sp>
    </p:spTree>
    <p:extLst>
      <p:ext uri="{BB962C8B-B14F-4D97-AF65-F5344CB8AC3E}">
        <p14:creationId xmlns:p14="http://schemas.microsoft.com/office/powerpoint/2010/main" val="39070707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4</a:t>
            </a:fld>
            <a:endParaRPr lang="en-US"/>
          </a:p>
        </p:txBody>
      </p:sp>
    </p:spTree>
    <p:extLst>
      <p:ext uri="{BB962C8B-B14F-4D97-AF65-F5344CB8AC3E}">
        <p14:creationId xmlns:p14="http://schemas.microsoft.com/office/powerpoint/2010/main" val="32599798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5</a:t>
            </a:fld>
            <a:endParaRPr lang="en-US"/>
          </a:p>
        </p:txBody>
      </p:sp>
    </p:spTree>
    <p:extLst>
      <p:ext uri="{BB962C8B-B14F-4D97-AF65-F5344CB8AC3E}">
        <p14:creationId xmlns:p14="http://schemas.microsoft.com/office/powerpoint/2010/main" val="25578446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6</a:t>
            </a:fld>
            <a:endParaRPr lang="en-US"/>
          </a:p>
        </p:txBody>
      </p:sp>
    </p:spTree>
    <p:extLst>
      <p:ext uri="{BB962C8B-B14F-4D97-AF65-F5344CB8AC3E}">
        <p14:creationId xmlns:p14="http://schemas.microsoft.com/office/powerpoint/2010/main" val="592098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en-US"/>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7</a:t>
            </a:fld>
            <a:endParaRPr lang="en-US"/>
          </a:p>
        </p:txBody>
      </p:sp>
    </p:spTree>
    <p:extLst>
      <p:ext uri="{BB962C8B-B14F-4D97-AF65-F5344CB8AC3E}">
        <p14:creationId xmlns:p14="http://schemas.microsoft.com/office/powerpoint/2010/main" val="17782563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7</a:t>
            </a:fld>
            <a:endParaRPr lang="en-US"/>
          </a:p>
        </p:txBody>
      </p:sp>
    </p:spTree>
    <p:extLst>
      <p:ext uri="{BB962C8B-B14F-4D97-AF65-F5344CB8AC3E}">
        <p14:creationId xmlns:p14="http://schemas.microsoft.com/office/powerpoint/2010/main" val="38086315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8</a:t>
            </a:fld>
            <a:endParaRPr lang="en-US"/>
          </a:p>
        </p:txBody>
      </p:sp>
    </p:spTree>
    <p:extLst>
      <p:ext uri="{BB962C8B-B14F-4D97-AF65-F5344CB8AC3E}">
        <p14:creationId xmlns:p14="http://schemas.microsoft.com/office/powerpoint/2010/main" val="1212213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9</a:t>
            </a:fld>
            <a:endParaRPr lang="en-US"/>
          </a:p>
        </p:txBody>
      </p:sp>
    </p:spTree>
    <p:extLst>
      <p:ext uri="{BB962C8B-B14F-4D97-AF65-F5344CB8AC3E}">
        <p14:creationId xmlns:p14="http://schemas.microsoft.com/office/powerpoint/2010/main" val="13947360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0</a:t>
            </a:fld>
            <a:endParaRPr lang="en-US"/>
          </a:p>
        </p:txBody>
      </p:sp>
    </p:spTree>
    <p:extLst>
      <p:ext uri="{BB962C8B-B14F-4D97-AF65-F5344CB8AC3E}">
        <p14:creationId xmlns:p14="http://schemas.microsoft.com/office/powerpoint/2010/main" val="31769475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1</a:t>
            </a:fld>
            <a:endParaRPr lang="en-US"/>
          </a:p>
        </p:txBody>
      </p:sp>
    </p:spTree>
    <p:extLst>
      <p:ext uri="{BB962C8B-B14F-4D97-AF65-F5344CB8AC3E}">
        <p14:creationId xmlns:p14="http://schemas.microsoft.com/office/powerpoint/2010/main" val="38724671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2</a:t>
            </a:fld>
            <a:endParaRPr lang="en-US"/>
          </a:p>
        </p:txBody>
      </p:sp>
    </p:spTree>
    <p:extLst>
      <p:ext uri="{BB962C8B-B14F-4D97-AF65-F5344CB8AC3E}">
        <p14:creationId xmlns:p14="http://schemas.microsoft.com/office/powerpoint/2010/main" val="13909604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3</a:t>
            </a:fld>
            <a:endParaRPr lang="en-US"/>
          </a:p>
        </p:txBody>
      </p:sp>
    </p:spTree>
    <p:extLst>
      <p:ext uri="{BB962C8B-B14F-4D97-AF65-F5344CB8AC3E}">
        <p14:creationId xmlns:p14="http://schemas.microsoft.com/office/powerpoint/2010/main" val="31553274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5</a:t>
            </a:fld>
            <a:endParaRPr lang="en-US"/>
          </a:p>
        </p:txBody>
      </p:sp>
    </p:spTree>
    <p:extLst>
      <p:ext uri="{BB962C8B-B14F-4D97-AF65-F5344CB8AC3E}">
        <p14:creationId xmlns:p14="http://schemas.microsoft.com/office/powerpoint/2010/main" val="15899115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6</a:t>
            </a:fld>
            <a:endParaRPr lang="en-US"/>
          </a:p>
        </p:txBody>
      </p:sp>
    </p:spTree>
    <p:extLst>
      <p:ext uri="{BB962C8B-B14F-4D97-AF65-F5344CB8AC3E}">
        <p14:creationId xmlns:p14="http://schemas.microsoft.com/office/powerpoint/2010/main" val="30410611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7</a:t>
            </a:fld>
            <a:endParaRPr lang="en-US"/>
          </a:p>
        </p:txBody>
      </p:sp>
    </p:spTree>
    <p:extLst>
      <p:ext uri="{BB962C8B-B14F-4D97-AF65-F5344CB8AC3E}">
        <p14:creationId xmlns:p14="http://schemas.microsoft.com/office/powerpoint/2010/main" val="12606046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en-US"/>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8</a:t>
            </a:fld>
            <a:endParaRPr lang="en-US"/>
          </a:p>
        </p:txBody>
      </p:sp>
    </p:spTree>
    <p:extLst>
      <p:ext uri="{BB962C8B-B14F-4D97-AF65-F5344CB8AC3E}">
        <p14:creationId xmlns:p14="http://schemas.microsoft.com/office/powerpoint/2010/main" val="8558111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8</a:t>
            </a:fld>
            <a:endParaRPr lang="en-US"/>
          </a:p>
        </p:txBody>
      </p:sp>
    </p:spTree>
    <p:extLst>
      <p:ext uri="{BB962C8B-B14F-4D97-AF65-F5344CB8AC3E}">
        <p14:creationId xmlns:p14="http://schemas.microsoft.com/office/powerpoint/2010/main" val="5962179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9</a:t>
            </a:fld>
            <a:endParaRPr lang="en-US"/>
          </a:p>
        </p:txBody>
      </p:sp>
    </p:spTree>
    <p:extLst>
      <p:ext uri="{BB962C8B-B14F-4D97-AF65-F5344CB8AC3E}">
        <p14:creationId xmlns:p14="http://schemas.microsoft.com/office/powerpoint/2010/main" val="245657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en-US"/>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9</a:t>
            </a:fld>
            <a:endParaRPr lang="en-US"/>
          </a:p>
        </p:txBody>
      </p:sp>
    </p:spTree>
    <p:extLst>
      <p:ext uri="{BB962C8B-B14F-4D97-AF65-F5344CB8AC3E}">
        <p14:creationId xmlns:p14="http://schemas.microsoft.com/office/powerpoint/2010/main" val="22639963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rtl="0">
              <a:spcBef>
                <a:spcPts val="0"/>
              </a:spcBef>
              <a:spcAft>
                <a:spcPts val="0"/>
              </a:spcAft>
            </a:pPr>
            <a:endParaRPr lang="en-US" b="0">
              <a:effectLst/>
            </a:endParaRPr>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0</a:t>
            </a:fld>
            <a:endParaRPr lang="en-US"/>
          </a:p>
        </p:txBody>
      </p:sp>
    </p:spTree>
    <p:extLst>
      <p:ext uri="{BB962C8B-B14F-4D97-AF65-F5344CB8AC3E}">
        <p14:creationId xmlns:p14="http://schemas.microsoft.com/office/powerpoint/2010/main" val="24524077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en-US"/>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1</a:t>
            </a:fld>
            <a:endParaRPr lang="en-US"/>
          </a:p>
        </p:txBody>
      </p:sp>
    </p:spTree>
    <p:extLst>
      <p:ext uri="{BB962C8B-B14F-4D97-AF65-F5344CB8AC3E}">
        <p14:creationId xmlns:p14="http://schemas.microsoft.com/office/powerpoint/2010/main" val="10517281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en-US"/>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4</a:t>
            </a:fld>
            <a:endParaRPr lang="en-US"/>
          </a:p>
        </p:txBody>
      </p:sp>
    </p:spTree>
    <p:extLst>
      <p:ext uri="{BB962C8B-B14F-4D97-AF65-F5344CB8AC3E}">
        <p14:creationId xmlns:p14="http://schemas.microsoft.com/office/powerpoint/2010/main" val="37771163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en-US"/>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5</a:t>
            </a:fld>
            <a:endParaRPr lang="en-US"/>
          </a:p>
        </p:txBody>
      </p:sp>
    </p:spTree>
    <p:extLst>
      <p:ext uri="{BB962C8B-B14F-4D97-AF65-F5344CB8AC3E}">
        <p14:creationId xmlns:p14="http://schemas.microsoft.com/office/powerpoint/2010/main" val="11523054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en-US" smtClean="0"/>
              <a:pPr/>
              <a:t>2 Sept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6</a:t>
            </a:fld>
            <a:endParaRPr lang="en-US"/>
          </a:p>
        </p:txBody>
      </p:sp>
    </p:spTree>
    <p:extLst>
      <p:ext uri="{BB962C8B-B14F-4D97-AF65-F5344CB8AC3E}">
        <p14:creationId xmlns:p14="http://schemas.microsoft.com/office/powerpoint/2010/main" val="195737401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0.xml"/><Relationship Id="rId3" Type="http://schemas.openxmlformats.org/officeDocument/2006/relationships/tags" Target="../tags/tag85.xml"/><Relationship Id="rId7" Type="http://schemas.openxmlformats.org/officeDocument/2006/relationships/tags" Target="../tags/tag89.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image" Target="../media/image3.emf"/><Relationship Id="rId5" Type="http://schemas.openxmlformats.org/officeDocument/2006/relationships/tags" Target="../tags/tag87.xml"/><Relationship Id="rId10" Type="http://schemas.openxmlformats.org/officeDocument/2006/relationships/oleObject" Target="../embeddings/oleObject11.bin"/><Relationship Id="rId4" Type="http://schemas.openxmlformats.org/officeDocument/2006/relationships/tags" Target="../tags/tag86.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8.xml"/><Relationship Id="rId3" Type="http://schemas.openxmlformats.org/officeDocument/2006/relationships/tags" Target="../tags/tag93.xml"/><Relationship Id="rId7" Type="http://schemas.openxmlformats.org/officeDocument/2006/relationships/tags" Target="../tags/tag97.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image" Target="../media/image1.emf"/><Relationship Id="rId5" Type="http://schemas.openxmlformats.org/officeDocument/2006/relationships/tags" Target="../tags/tag95.xml"/><Relationship Id="rId10" Type="http://schemas.openxmlformats.org/officeDocument/2006/relationships/oleObject" Target="../embeddings/oleObject12.bin"/><Relationship Id="rId4" Type="http://schemas.openxmlformats.org/officeDocument/2006/relationships/tags" Target="../tags/tag94.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1.xml"/><Relationship Id="rId7"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 Id="rId9"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2.emf"/><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08.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0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12.xml"/><Relationship Id="rId4"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4.emf"/><Relationship Id="rId4" Type="http://schemas.openxmlformats.org/officeDocument/2006/relationships/oleObject" Target="../embeddings/oleObject2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6.xml"/><Relationship Id="rId1" Type="http://schemas.openxmlformats.org/officeDocument/2006/relationships/tags" Target="../tags/tag125.xml"/><Relationship Id="rId5" Type="http://schemas.openxmlformats.org/officeDocument/2006/relationships/image" Target="../media/image4.emf"/><Relationship Id="rId4" Type="http://schemas.openxmlformats.org/officeDocument/2006/relationships/oleObject" Target="../embeddings/oleObject24.bin"/></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49.xml"/><Relationship Id="rId7" Type="http://schemas.openxmlformats.org/officeDocument/2006/relationships/oleObject" Target="../embeddings/oleObject26.bin"/><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slideMaster" Target="../slideMasters/slideMaster2.xml"/><Relationship Id="rId5" Type="http://schemas.openxmlformats.org/officeDocument/2006/relationships/tags" Target="../tags/tag151.xml"/><Relationship Id="rId4" Type="http://schemas.openxmlformats.org/officeDocument/2006/relationships/tags" Target="../tags/tag150.xml"/><Relationship Id="rId9" Type="http://schemas.openxmlformats.org/officeDocument/2006/relationships/image" Target="../media/image6.emf"/></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4.xml"/><Relationship Id="rId7" Type="http://schemas.openxmlformats.org/officeDocument/2006/relationships/tags" Target="../tags/tag158.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tags" Target="../tags/tag157.xml"/><Relationship Id="rId5" Type="http://schemas.openxmlformats.org/officeDocument/2006/relationships/tags" Target="../tags/tag156.xml"/><Relationship Id="rId10" Type="http://schemas.openxmlformats.org/officeDocument/2006/relationships/image" Target="../media/image1.emf"/><Relationship Id="rId4" Type="http://schemas.openxmlformats.org/officeDocument/2006/relationships/tags" Target="../tags/tag155.xml"/><Relationship Id="rId9"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161.xml"/><Relationship Id="rId7" Type="http://schemas.openxmlformats.org/officeDocument/2006/relationships/slideMaster" Target="../slideMasters/slideMaster2.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5" Type="http://schemas.openxmlformats.org/officeDocument/2006/relationships/tags" Target="../tags/tag163.xml"/><Relationship Id="rId4" Type="http://schemas.openxmlformats.org/officeDocument/2006/relationships/tags" Target="../tags/tag162.xml"/><Relationship Id="rId9"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167.xml"/><Relationship Id="rId7" Type="http://schemas.openxmlformats.org/officeDocument/2006/relationships/slideMaster" Target="../slideMasters/slideMaster2.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5" Type="http://schemas.openxmlformats.org/officeDocument/2006/relationships/tags" Target="../tags/tag169.xml"/><Relationship Id="rId4" Type="http://schemas.openxmlformats.org/officeDocument/2006/relationships/tags" Target="../tags/tag168.xml"/><Relationship Id="rId9"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173.xml"/><Relationship Id="rId7" Type="http://schemas.openxmlformats.org/officeDocument/2006/relationships/slideMaster" Target="../slideMasters/slideMaster2.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tags" Target="../tags/tag176.xml"/><Relationship Id="rId5" Type="http://schemas.openxmlformats.org/officeDocument/2006/relationships/tags" Target="../tags/tag175.xml"/><Relationship Id="rId4" Type="http://schemas.openxmlformats.org/officeDocument/2006/relationships/tags" Target="../tags/tag174.xml"/><Relationship Id="rId9"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6.xml"/><Relationship Id="rId7"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9.xml"/><Relationship Id="rId7" Type="http://schemas.openxmlformats.org/officeDocument/2006/relationships/tags" Target="../tags/tag183.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5" Type="http://schemas.openxmlformats.org/officeDocument/2006/relationships/tags" Target="../tags/tag181.xml"/><Relationship Id="rId10" Type="http://schemas.openxmlformats.org/officeDocument/2006/relationships/image" Target="../media/image2.emf"/><Relationship Id="rId4" Type="http://schemas.openxmlformats.org/officeDocument/2006/relationships/tags" Target="../tags/tag180.xml"/><Relationship Id="rId9"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91.xml"/><Relationship Id="rId3" Type="http://schemas.openxmlformats.org/officeDocument/2006/relationships/tags" Target="../tags/tag186.xml"/><Relationship Id="rId7" Type="http://schemas.openxmlformats.org/officeDocument/2006/relationships/tags" Target="../tags/tag190.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11" Type="http://schemas.openxmlformats.org/officeDocument/2006/relationships/image" Target="../media/image1.emf"/><Relationship Id="rId5" Type="http://schemas.openxmlformats.org/officeDocument/2006/relationships/tags" Target="../tags/tag188.xml"/><Relationship Id="rId10" Type="http://schemas.openxmlformats.org/officeDocument/2006/relationships/oleObject" Target="../embeddings/oleObject32.bin"/><Relationship Id="rId4" Type="http://schemas.openxmlformats.org/officeDocument/2006/relationships/tags" Target="../tags/tag187.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99.xml"/><Relationship Id="rId3" Type="http://schemas.openxmlformats.org/officeDocument/2006/relationships/tags" Target="../tags/tag194.xml"/><Relationship Id="rId7" Type="http://schemas.openxmlformats.org/officeDocument/2006/relationships/tags" Target="../tags/tag198.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image" Target="../media/image1.emf"/><Relationship Id="rId5" Type="http://schemas.openxmlformats.org/officeDocument/2006/relationships/tags" Target="../tags/tag196.xml"/><Relationship Id="rId10" Type="http://schemas.openxmlformats.org/officeDocument/2006/relationships/oleObject" Target="../embeddings/oleObject33.bin"/><Relationship Id="rId4" Type="http://schemas.openxmlformats.org/officeDocument/2006/relationships/tags" Target="../tags/tag195.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07.xml"/><Relationship Id="rId3" Type="http://schemas.openxmlformats.org/officeDocument/2006/relationships/tags" Target="../tags/tag202.xml"/><Relationship Id="rId7" Type="http://schemas.openxmlformats.org/officeDocument/2006/relationships/tags" Target="../tags/tag206.xml"/><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image" Target="../media/image1.emf"/><Relationship Id="rId5" Type="http://schemas.openxmlformats.org/officeDocument/2006/relationships/tags" Target="../tags/tag204.xml"/><Relationship Id="rId10" Type="http://schemas.openxmlformats.org/officeDocument/2006/relationships/oleObject" Target="../embeddings/oleObject34.bin"/><Relationship Id="rId4" Type="http://schemas.openxmlformats.org/officeDocument/2006/relationships/tags" Target="../tags/tag203.xml"/><Relationship Id="rId9"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15.xml"/><Relationship Id="rId3" Type="http://schemas.openxmlformats.org/officeDocument/2006/relationships/tags" Target="../tags/tag210.xml"/><Relationship Id="rId7" Type="http://schemas.openxmlformats.org/officeDocument/2006/relationships/tags" Target="../tags/tag214.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tags" Target="../tags/tag213.xml"/><Relationship Id="rId11" Type="http://schemas.openxmlformats.org/officeDocument/2006/relationships/image" Target="../media/image3.emf"/><Relationship Id="rId5" Type="http://schemas.openxmlformats.org/officeDocument/2006/relationships/tags" Target="../tags/tag212.xml"/><Relationship Id="rId10" Type="http://schemas.openxmlformats.org/officeDocument/2006/relationships/oleObject" Target="../embeddings/oleObject35.bin"/><Relationship Id="rId4" Type="http://schemas.openxmlformats.org/officeDocument/2006/relationships/tags" Target="../tags/tag211.xml"/><Relationship Id="rId9"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23.xml"/><Relationship Id="rId3" Type="http://schemas.openxmlformats.org/officeDocument/2006/relationships/tags" Target="../tags/tag218.xml"/><Relationship Id="rId7" Type="http://schemas.openxmlformats.org/officeDocument/2006/relationships/tags" Target="../tags/tag222.xml"/><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tags" Target="../tags/tag221.xml"/><Relationship Id="rId11" Type="http://schemas.openxmlformats.org/officeDocument/2006/relationships/image" Target="../media/image1.emf"/><Relationship Id="rId5" Type="http://schemas.openxmlformats.org/officeDocument/2006/relationships/tags" Target="../tags/tag220.xml"/><Relationship Id="rId10" Type="http://schemas.openxmlformats.org/officeDocument/2006/relationships/oleObject" Target="../embeddings/oleObject36.bin"/><Relationship Id="rId4" Type="http://schemas.openxmlformats.org/officeDocument/2006/relationships/tags" Target="../tags/tag219.xml"/><Relationship Id="rId9"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226.xml"/><Relationship Id="rId7" Type="http://schemas.openxmlformats.org/officeDocument/2006/relationships/slideMaster" Target="../slideMasters/slideMaster2.xm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tags" Target="../tags/tag229.xml"/><Relationship Id="rId5" Type="http://schemas.openxmlformats.org/officeDocument/2006/relationships/tags" Target="../tags/tag228.xml"/><Relationship Id="rId4" Type="http://schemas.openxmlformats.org/officeDocument/2006/relationships/tags" Target="../tags/tag227.xml"/><Relationship Id="rId9"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2.emf"/><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oleObject" Target="../embeddings/oleObject38.bin"/><Relationship Id="rId5" Type="http://schemas.openxmlformats.org/officeDocument/2006/relationships/slideMaster" Target="../slideMasters/slideMaster2.xml"/><Relationship Id="rId4" Type="http://schemas.openxmlformats.org/officeDocument/2006/relationships/tags" Target="../tags/tag233.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234.xml"/><Relationship Id="rId5" Type="http://schemas.openxmlformats.org/officeDocument/2006/relationships/image" Target="../media/image6.emf"/><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235.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7.xml"/><Relationship Id="rId1" Type="http://schemas.openxmlformats.org/officeDocument/2006/relationships/tags" Target="../tags/tag236.xml"/><Relationship Id="rId5" Type="http://schemas.openxmlformats.org/officeDocument/2006/relationships/image" Target="../media/image4.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9.xml"/><Relationship Id="rId1" Type="http://schemas.openxmlformats.org/officeDocument/2006/relationships/tags" Target="../tags/tag238.xml"/><Relationship Id="rId5" Type="http://schemas.openxmlformats.org/officeDocument/2006/relationships/image" Target="../media/image4.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1.xml"/><Relationship Id="rId1" Type="http://schemas.openxmlformats.org/officeDocument/2006/relationships/tags" Target="../tags/tag240.xml"/><Relationship Id="rId5" Type="http://schemas.openxmlformats.org/officeDocument/2006/relationships/image" Target="../media/image4.emf"/><Relationship Id="rId4" Type="http://schemas.openxmlformats.org/officeDocument/2006/relationships/oleObject" Target="../embeddings/oleObject43.bin"/></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8.xml"/><Relationship Id="rId7"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10" Type="http://schemas.openxmlformats.org/officeDocument/2006/relationships/image" Target="../media/image2.emf"/><Relationship Id="rId4" Type="http://schemas.openxmlformats.org/officeDocument/2006/relationships/tags" Target="../tags/tag55.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image" Target="../media/image1.emf"/><Relationship Id="rId5" Type="http://schemas.openxmlformats.org/officeDocument/2006/relationships/tags" Target="../tags/tag63.xml"/><Relationship Id="rId10" Type="http://schemas.openxmlformats.org/officeDocument/2006/relationships/oleObject" Target="../embeddings/oleObject8.bin"/><Relationship Id="rId4" Type="http://schemas.openxmlformats.org/officeDocument/2006/relationships/tags" Target="../tags/tag62.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image" Target="../media/image1.emf"/><Relationship Id="rId5" Type="http://schemas.openxmlformats.org/officeDocument/2006/relationships/tags" Target="../tags/tag71.xml"/><Relationship Id="rId10" Type="http://schemas.openxmlformats.org/officeDocument/2006/relationships/oleObject" Target="../embeddings/oleObject9.bin"/><Relationship Id="rId4" Type="http://schemas.openxmlformats.org/officeDocument/2006/relationships/tags" Target="../tags/tag70.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image" Target="../media/image1.emf"/><Relationship Id="rId5" Type="http://schemas.openxmlformats.org/officeDocument/2006/relationships/tags" Target="../tags/tag79.xml"/><Relationship Id="rId10" Type="http://schemas.openxmlformats.org/officeDocument/2006/relationships/oleObject" Target="../embeddings/oleObject10.bin"/><Relationship Id="rId4" Type="http://schemas.openxmlformats.org/officeDocument/2006/relationships/tags" Target="../tags/tag78.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650847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GB"/>
              <a:t>Click to edit Master subtitle style</a:t>
            </a:r>
            <a:endParaRPr lang="en-US"/>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GB"/>
              <a:t>Click to edit Master title style</a:t>
            </a:r>
            <a:endParaRPr lang="en-US"/>
          </a:p>
        </p:txBody>
      </p:sp>
    </p:spTree>
    <p:extLst>
      <p:ext uri="{BB962C8B-B14F-4D97-AF65-F5344CB8AC3E}">
        <p14:creationId xmlns:p14="http://schemas.microsoft.com/office/powerpoint/2010/main" val="42811844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24358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a:spAutoFit/>
          </a:bodyPr>
          <a:lstStyle/>
          <a:p>
            <a:r>
              <a:rPr lang="en-GB"/>
              <a:t>Click to edit Master title style</a:t>
            </a:r>
            <a:endParaRPr lang="en-US"/>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2147128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058959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a:noAutofit/>
          </a:body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7273970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521516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a:spAutoFit/>
          </a:bodyPr>
          <a:lstStyle>
            <a:lvl1pPr>
              <a:defRPr/>
            </a:lvl1pPr>
          </a:lstStyle>
          <a:p>
            <a:r>
              <a:rPr lang="en-GB"/>
              <a:t>Click to edit Master title style</a:t>
            </a:r>
            <a:endParaRPr lang="en-US"/>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31300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222706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80163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257865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Annexes</a:t>
            </a:r>
          </a:p>
        </p:txBody>
      </p:sp>
    </p:spTree>
    <p:extLst>
      <p:ext uri="{BB962C8B-B14F-4D97-AF65-F5344CB8AC3E}">
        <p14:creationId xmlns:p14="http://schemas.microsoft.com/office/powerpoint/2010/main" val="28177083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_2 text columns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156370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2" name="Text Placeholder 7">
            <a:extLst>
              <a:ext uri="{FF2B5EF4-FFF2-40B4-BE49-F238E27FC236}">
                <a16:creationId xmlns:a16="http://schemas.microsoft.com/office/drawing/2014/main" id="{990F59DA-25A3-F14E-A463-918F4C0183F3}"/>
              </a:ext>
            </a:extLst>
          </p:cNvPr>
          <p:cNvSpPr>
            <a:spLocks noGrp="1"/>
          </p:cNvSpPr>
          <p:nvPr>
            <p:ph type="body" sz="quarter" idx="14"/>
          </p:nvPr>
        </p:nvSpPr>
        <p:spPr>
          <a:xfrm>
            <a:off x="551330" y="1668217"/>
            <a:ext cx="5319246"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ext Placeholder 7">
            <a:extLst>
              <a:ext uri="{FF2B5EF4-FFF2-40B4-BE49-F238E27FC236}">
                <a16:creationId xmlns:a16="http://schemas.microsoft.com/office/drawing/2014/main" id="{0C77F5A8-3CBB-5F43-8C9C-BD95C7518998}"/>
              </a:ext>
            </a:extLst>
          </p:cNvPr>
          <p:cNvSpPr>
            <a:spLocks noGrp="1"/>
          </p:cNvSpPr>
          <p:nvPr>
            <p:ph type="body" sz="quarter" idx="17"/>
          </p:nvPr>
        </p:nvSpPr>
        <p:spPr>
          <a:xfrm>
            <a:off x="6073365" y="1668217"/>
            <a:ext cx="5319246"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7">
            <a:extLst>
              <a:ext uri="{FF2B5EF4-FFF2-40B4-BE49-F238E27FC236}">
                <a16:creationId xmlns:a16="http://schemas.microsoft.com/office/drawing/2014/main" id="{CFF1C99E-F26C-8B48-9830-A731A6CD6696}"/>
              </a:ext>
            </a:extLst>
          </p:cNvPr>
          <p:cNvSpPr>
            <a:spLocks noGrp="1"/>
          </p:cNvSpPr>
          <p:nvPr>
            <p:ph type="body" sz="quarter" idx="19" hasCustomPrompt="1"/>
          </p:nvPr>
        </p:nvSpPr>
        <p:spPr>
          <a:xfrm>
            <a:off x="552091" y="246579"/>
            <a:ext cx="3782308" cy="290352"/>
          </a:xfrm>
          <a:prstGeom prst="rect">
            <a:avLst/>
          </a:prstGeom>
        </p:spPr>
        <p:txBody>
          <a:bodyPr rIns="0" anchor="t">
            <a:normAutofit/>
          </a:bodyPr>
          <a:lstStyle>
            <a:lvl1pPr algn="l">
              <a:buNone/>
              <a:defRPr sz="1200" b="0" i="1">
                <a:solidFill>
                  <a:schemeClr val="tx2"/>
                </a:solidFill>
                <a:latin typeface="+mn-lt"/>
              </a:defRPr>
            </a:lvl1pPr>
          </a:lstStyle>
          <a:p>
            <a:pPr lvl="0"/>
            <a:r>
              <a:rPr lang="en-US"/>
              <a:t>Section name </a:t>
            </a:r>
          </a:p>
        </p:txBody>
      </p:sp>
      <p:sp>
        <p:nvSpPr>
          <p:cNvPr id="14" name="Slide Number Placeholder 5">
            <a:extLst>
              <a:ext uri="{FF2B5EF4-FFF2-40B4-BE49-F238E27FC236}">
                <a16:creationId xmlns:a16="http://schemas.microsoft.com/office/drawing/2014/main" id="{F24F3FBC-0E6C-C449-A900-102CABF0C5B1}"/>
              </a:ext>
            </a:extLst>
          </p:cNvPr>
          <p:cNvSpPr>
            <a:spLocks noGrp="1"/>
          </p:cNvSpPr>
          <p:nvPr>
            <p:ph type="sldNum" sz="quarter" idx="4"/>
          </p:nvPr>
        </p:nvSpPr>
        <p:spPr>
          <a:xfrm>
            <a:off x="11324535" y="224520"/>
            <a:ext cx="428609" cy="365125"/>
          </a:xfrm>
          <a:prstGeom prst="rect">
            <a:avLst/>
          </a:prstGeom>
        </p:spPr>
        <p:txBody>
          <a:bodyPr vert="horz" lIns="91440" tIns="45720" rIns="91440" bIns="45720" rtlCol="0" anchor="t"/>
          <a:lstStyle>
            <a:lvl1pPr algn="l">
              <a:defRPr sz="1400" b="1">
                <a:solidFill>
                  <a:schemeClr val="accent2"/>
                </a:solidFill>
              </a:defRPr>
            </a:lvl1pPr>
          </a:lstStyle>
          <a:p>
            <a:fld id="{5C7892DB-DEDB-A440-9305-CDECCE7FBDC0}" type="slidenum">
              <a:rPr lang="en-US" smtClean="0"/>
              <a:pPr/>
              <a:t>‹#›</a:t>
            </a:fld>
            <a:endParaRPr lang="en-US"/>
          </a:p>
        </p:txBody>
      </p:sp>
      <p:sp>
        <p:nvSpPr>
          <p:cNvPr id="4" name="Title 3">
            <a:extLst>
              <a:ext uri="{FF2B5EF4-FFF2-40B4-BE49-F238E27FC236}">
                <a16:creationId xmlns:a16="http://schemas.microsoft.com/office/drawing/2014/main" id="{B747B00D-C86A-D947-9782-3D7CB86D7AC9}"/>
              </a:ext>
            </a:extLst>
          </p:cNvPr>
          <p:cNvSpPr>
            <a:spLocks noGrp="1"/>
          </p:cNvSpPr>
          <p:nvPr>
            <p:ph type="title"/>
          </p:nvPr>
        </p:nvSpPr>
        <p:spPr/>
        <p:txBody>
          <a:bodyPr vert="horz"/>
          <a:lstStyle/>
          <a:p>
            <a:r>
              <a:rPr lang="en-GB"/>
              <a:t>Click to edit Master title style</a:t>
            </a:r>
            <a:endParaRPr lang="en-US"/>
          </a:p>
        </p:txBody>
      </p:sp>
      <p:sp>
        <p:nvSpPr>
          <p:cNvPr id="5" name="Footer Placeholder 4">
            <a:extLst>
              <a:ext uri="{FF2B5EF4-FFF2-40B4-BE49-F238E27FC236}">
                <a16:creationId xmlns:a16="http://schemas.microsoft.com/office/drawing/2014/main" id="{043D1483-BD68-B846-8EF9-8AF25AA82476}"/>
              </a:ext>
            </a:extLst>
          </p:cNvPr>
          <p:cNvSpPr>
            <a:spLocks noGrp="1"/>
          </p:cNvSpPr>
          <p:nvPr>
            <p:ph type="ftr" sz="quarter" idx="20"/>
          </p:nvPr>
        </p:nvSpPr>
        <p:spPr/>
        <p:txBody>
          <a:bodyPr/>
          <a:lstStyle/>
          <a:p>
            <a:endParaRPr lang="en-US" sz="1000"/>
          </a:p>
        </p:txBody>
      </p:sp>
    </p:spTree>
    <p:extLst>
      <p:ext uri="{BB962C8B-B14F-4D97-AF65-F5344CB8AC3E}">
        <p14:creationId xmlns:p14="http://schemas.microsoft.com/office/powerpoint/2010/main" val="2638523977"/>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263D28E-A044-4A27-8E65-0B05919B7502}"/>
              </a:ext>
            </a:extLst>
          </p:cNvPr>
          <p:cNvGraphicFramePr>
            <a:graphicFrameLocks noChangeAspect="1"/>
          </p:cNvGraphicFramePr>
          <p:nvPr userDrawn="1">
            <p:custDataLst>
              <p:tags r:id="rId1"/>
            </p:custDataLst>
            <p:extLst>
              <p:ext uri="{D42A27DB-BD31-4B8C-83A1-F6EECF244321}">
                <p14:modId xmlns:p14="http://schemas.microsoft.com/office/powerpoint/2010/main" val="19474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2263D28E-A044-4A27-8E65-0B05919B75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5282379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3" y="805392"/>
            <a:ext cx="8048612" cy="537986"/>
          </a:xfrm>
        </p:spPr>
        <p:txBody>
          <a:bodyPr>
            <a:noAutofit/>
          </a:bodyPr>
          <a:lstStyle>
            <a:lvl1pPr>
              <a:defRPr sz="2400">
                <a:solidFill>
                  <a:schemeClr val="accent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775793"/>
            <a:ext cx="7155603"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4" name="Footer Placeholder 3">
            <a:extLst>
              <a:ext uri="{FF2B5EF4-FFF2-40B4-BE49-F238E27FC236}">
                <a16:creationId xmlns:a16="http://schemas.microsoft.com/office/drawing/2014/main" id="{3371C2BB-1BB7-454E-92E1-8638963A99C2}"/>
              </a:ext>
            </a:extLst>
          </p:cNvPr>
          <p:cNvSpPr>
            <a:spLocks noGrp="1"/>
          </p:cNvSpPr>
          <p:nvPr>
            <p:ph type="ftr" sz="quarter" idx="17"/>
          </p:nvPr>
        </p:nvSpPr>
        <p:spPr/>
        <p:txBody>
          <a:bodyPr/>
          <a:lstStyle/>
          <a:p>
            <a:endParaRPr lang="en-US" sz="1000"/>
          </a:p>
        </p:txBody>
      </p:sp>
      <p:sp>
        <p:nvSpPr>
          <p:cNvPr id="6" name="Slide Number Placeholder 5">
            <a:extLst>
              <a:ext uri="{FF2B5EF4-FFF2-40B4-BE49-F238E27FC236}">
                <a16:creationId xmlns:a16="http://schemas.microsoft.com/office/drawing/2014/main" id="{DA9AB4EE-B21D-804A-9B41-27C28463175F}"/>
              </a:ext>
            </a:extLst>
          </p:cNvPr>
          <p:cNvSpPr>
            <a:spLocks noGrp="1"/>
          </p:cNvSpPr>
          <p:nvPr>
            <p:ph type="sldNum" sz="quarter" idx="18"/>
          </p:nvPr>
        </p:nvSpPr>
        <p:spPr/>
        <p:txBody>
          <a:bodyPr/>
          <a:lstStyle/>
          <a:p>
            <a:pPr algn="l"/>
            <a:r>
              <a:rPr lang="en-US"/>
              <a:t>| </a:t>
            </a:r>
            <a:fld id="{5C7892DB-DEDB-A440-9305-CDECCE7FBDC0}" type="slidenum">
              <a:rPr lang="en-US" smtClean="0"/>
              <a:pPr algn="l"/>
              <a:t>‹#›</a:t>
            </a:fld>
            <a:endParaRPr lang="en-US"/>
          </a:p>
        </p:txBody>
      </p:sp>
      <p:sp>
        <p:nvSpPr>
          <p:cNvPr id="13" name="Text Placeholder 27">
            <a:extLst>
              <a:ext uri="{FF2B5EF4-FFF2-40B4-BE49-F238E27FC236}">
                <a16:creationId xmlns:a16="http://schemas.microsoft.com/office/drawing/2014/main" id="{C35DBD1C-00BB-3440-8810-00B944ACC2B2}"/>
              </a:ext>
            </a:extLst>
          </p:cNvPr>
          <p:cNvSpPr>
            <a:spLocks noGrp="1"/>
          </p:cNvSpPr>
          <p:nvPr>
            <p:ph type="body" sz="quarter" idx="20" hasCustomPrompt="1"/>
          </p:nvPr>
        </p:nvSpPr>
        <p:spPr>
          <a:xfrm>
            <a:off x="578553" y="246579"/>
            <a:ext cx="4896556" cy="290352"/>
          </a:xfrm>
        </p:spPr>
        <p:txBody>
          <a:bodyPr rIns="0" anchor="t">
            <a:normAutofit/>
          </a:bodyPr>
          <a:lstStyle>
            <a:lvl1pPr algn="l">
              <a:buNone/>
              <a:defRPr sz="1200" b="0">
                <a:latin typeface="+mn-lt"/>
              </a:defRPr>
            </a:lvl1pPr>
          </a:lstStyle>
          <a:p>
            <a:r>
              <a:rPr lang="en-US"/>
              <a:t>Country Readiness and Delivery Work Stream - XXX Working Group</a:t>
            </a:r>
          </a:p>
        </p:txBody>
      </p:sp>
    </p:spTree>
    <p:extLst>
      <p:ext uri="{BB962C8B-B14F-4D97-AF65-F5344CB8AC3E}">
        <p14:creationId xmlns:p14="http://schemas.microsoft.com/office/powerpoint/2010/main" val="3932097501"/>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CFF14AD0-489C-439F-90EA-D118B0245118}" type="datetimeFigureOut">
              <a:rPr lang="en-US" smtClean="0"/>
              <a:t>9/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F4D9A9-C107-44A6-B7FE-7B1A13554EB6}" type="slidenum">
              <a:rPr lang="en-US" smtClean="0"/>
              <a:t>‹#›</a:t>
            </a:fld>
            <a:endParaRPr lang="en-US"/>
          </a:p>
        </p:txBody>
      </p:sp>
    </p:spTree>
    <p:extLst>
      <p:ext uri="{BB962C8B-B14F-4D97-AF65-F5344CB8AC3E}">
        <p14:creationId xmlns:p14="http://schemas.microsoft.com/office/powerpoint/2010/main" val="40977947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2" y="805392"/>
            <a:ext cx="10607189" cy="537986"/>
          </a:xfrm>
        </p:spPr>
        <p:txBody>
          <a:bodyPr>
            <a:noAutofit/>
          </a:bodyPr>
          <a:lstStyle>
            <a:lvl1pPr>
              <a:defRPr sz="2400">
                <a:solidFill>
                  <a:schemeClr val="accent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595170"/>
            <a:ext cx="10158138"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6263014" y="246579"/>
            <a:ext cx="4923448" cy="279514"/>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544301128"/>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65028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GB"/>
              <a:t>Click to edit Master title style</a:t>
            </a:r>
            <a:endParaRPr lang="en-US"/>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GB"/>
              <a:t>Click to edit Master subtitle style</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3778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0E369A-2421-2B45-B472-43E528F9CE5B}"/>
              </a:ext>
            </a:extLst>
          </p:cNvPr>
          <p:cNvSpPr/>
          <p:nvPr userDrawn="1"/>
        </p:nvSpPr>
        <p:spPr bwMode="white">
          <a:xfrm>
            <a:off x="9703398" y="-1309"/>
            <a:ext cx="2488601"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a:xfrm>
            <a:off x="11184835" y="224520"/>
            <a:ext cx="428609" cy="365125"/>
          </a:xfrm>
        </p:spPr>
        <p:txBody>
          <a:bodyPr/>
          <a:lstStyle/>
          <a:p>
            <a:fld id="{5C7892DB-DEDB-A440-9305-CDECCE7FBDC0}" type="slidenum">
              <a:rPr lang="en-US" smtClean="0"/>
              <a:t>‹#›</a:t>
            </a:fld>
            <a:endParaRPr lang="en-US"/>
          </a:p>
        </p:txBody>
      </p:sp>
      <p:sp>
        <p:nvSpPr>
          <p:cNvPr id="11" name="Text Placeholder 7">
            <a:extLst>
              <a:ext uri="{FF2B5EF4-FFF2-40B4-BE49-F238E27FC236}">
                <a16:creationId xmlns:a16="http://schemas.microsoft.com/office/drawing/2014/main" id="{A7822AC9-3D76-014E-9DBC-100BFFA8BB4D}"/>
              </a:ext>
            </a:extLst>
          </p:cNvPr>
          <p:cNvSpPr>
            <a:spLocks noGrp="1"/>
          </p:cNvSpPr>
          <p:nvPr>
            <p:ph type="body" sz="quarter" idx="14"/>
          </p:nvPr>
        </p:nvSpPr>
        <p:spPr>
          <a:xfrm>
            <a:off x="1040130" y="1775793"/>
            <a:ext cx="5530003"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27">
            <a:extLst>
              <a:ext uri="{FF2B5EF4-FFF2-40B4-BE49-F238E27FC236}">
                <a16:creationId xmlns:a16="http://schemas.microsoft.com/office/drawing/2014/main" id="{26C4B127-E7E0-444A-BB78-D7577CB04C2A}"/>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4" name="Footer Placeholder 3">
            <a:extLst>
              <a:ext uri="{FF2B5EF4-FFF2-40B4-BE49-F238E27FC236}">
                <a16:creationId xmlns:a16="http://schemas.microsoft.com/office/drawing/2014/main" id="{D5603FEE-A3D3-904A-9106-278392AB5A3E}"/>
              </a:ext>
            </a:extLst>
          </p:cNvPr>
          <p:cNvSpPr>
            <a:spLocks noGrp="1"/>
          </p:cNvSpPr>
          <p:nvPr>
            <p:ph type="ftr" sz="quarter" idx="17"/>
          </p:nvPr>
        </p:nvSpPr>
        <p:spPr/>
        <p:txBody>
          <a:bodyPr/>
          <a:lstStyle/>
          <a:p>
            <a:endParaRPr lang="en-US" sz="1000"/>
          </a:p>
        </p:txBody>
      </p:sp>
      <p:sp>
        <p:nvSpPr>
          <p:cNvPr id="5" name="Title 4">
            <a:extLst>
              <a:ext uri="{FF2B5EF4-FFF2-40B4-BE49-F238E27FC236}">
                <a16:creationId xmlns:a16="http://schemas.microsoft.com/office/drawing/2014/main" id="{63C4827F-4A69-E545-86C7-79E41B9D15D5}"/>
              </a:ext>
            </a:extLst>
          </p:cNvPr>
          <p:cNvSpPr>
            <a:spLocks noGrp="1"/>
          </p:cNvSpPr>
          <p:nvPr>
            <p:ph type="title"/>
          </p:nvPr>
        </p:nvSpPr>
        <p:spPr>
          <a:xfrm>
            <a:off x="578552" y="805392"/>
            <a:ext cx="9006511" cy="537986"/>
          </a:xfrm>
        </p:spPr>
        <p:txBody>
          <a:bodyPr vert="horz"/>
          <a:lstStyle/>
          <a:p>
            <a:r>
              <a:rPr lang="en-GB"/>
              <a:t>Click to edit Master title style</a:t>
            </a:r>
            <a:endParaRPr lang="en-US"/>
          </a:p>
        </p:txBody>
      </p:sp>
    </p:spTree>
    <p:extLst>
      <p:ext uri="{BB962C8B-B14F-4D97-AF65-F5344CB8AC3E}">
        <p14:creationId xmlns:p14="http://schemas.microsoft.com/office/powerpoint/2010/main" val="1025517533"/>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775793"/>
            <a:ext cx="7155603"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7">
            <a:extLst>
              <a:ext uri="{FF2B5EF4-FFF2-40B4-BE49-F238E27FC236}">
                <a16:creationId xmlns:a16="http://schemas.microsoft.com/office/drawing/2014/main" id="{785EDADD-C884-BD4B-A41C-D8E81E0719ED}"/>
              </a:ext>
            </a:extLst>
          </p:cNvPr>
          <p:cNvSpPr>
            <a:spLocks noGrp="1"/>
          </p:cNvSpPr>
          <p:nvPr>
            <p:ph type="body" sz="quarter" idx="19" hasCustomPrompt="1"/>
          </p:nvPr>
        </p:nvSpPr>
        <p:spPr>
          <a:xfrm>
            <a:off x="552091" y="246579"/>
            <a:ext cx="3782308" cy="290352"/>
          </a:xfrm>
          <a:prstGeom prst="rect">
            <a:avLst/>
          </a:prstGeom>
        </p:spPr>
        <p:txBody>
          <a:bodyPr rIns="0" anchor="t">
            <a:normAutofit/>
          </a:bodyPr>
          <a:lstStyle>
            <a:lvl1pPr algn="l">
              <a:buNone/>
              <a:defRPr sz="1200" b="0" i="1">
                <a:solidFill>
                  <a:schemeClr val="tx2"/>
                </a:solidFill>
                <a:latin typeface="+mn-lt"/>
              </a:defRPr>
            </a:lvl1pPr>
          </a:lstStyle>
          <a:p>
            <a:pPr lvl="0"/>
            <a:r>
              <a:rPr lang="en-US"/>
              <a:t>Section name </a:t>
            </a:r>
          </a:p>
        </p:txBody>
      </p:sp>
      <p:sp>
        <p:nvSpPr>
          <p:cNvPr id="10" name="Slide Number Placeholder 5">
            <a:extLst>
              <a:ext uri="{FF2B5EF4-FFF2-40B4-BE49-F238E27FC236}">
                <a16:creationId xmlns:a16="http://schemas.microsoft.com/office/drawing/2014/main" id="{F763B415-1F89-9A48-8938-54AD3313F465}"/>
              </a:ext>
            </a:extLst>
          </p:cNvPr>
          <p:cNvSpPr>
            <a:spLocks noGrp="1"/>
          </p:cNvSpPr>
          <p:nvPr>
            <p:ph type="sldNum" sz="quarter" idx="4"/>
          </p:nvPr>
        </p:nvSpPr>
        <p:spPr>
          <a:xfrm>
            <a:off x="11324535" y="224520"/>
            <a:ext cx="428609" cy="365125"/>
          </a:xfrm>
          <a:prstGeom prst="rect">
            <a:avLst/>
          </a:prstGeom>
        </p:spPr>
        <p:txBody>
          <a:bodyPr vert="horz" lIns="91440" tIns="45720" rIns="91440" bIns="45720" rtlCol="0" anchor="t"/>
          <a:lstStyle>
            <a:lvl1pPr algn="l">
              <a:defRPr sz="1400" b="1">
                <a:solidFill>
                  <a:schemeClr val="accent2"/>
                </a:solidFill>
              </a:defRPr>
            </a:lvl1pPr>
          </a:lstStyle>
          <a:p>
            <a:fld id="{5C7892DB-DEDB-A440-9305-CDECCE7FBDC0}" type="slidenum">
              <a:rPr lang="en-US" smtClean="0"/>
              <a:pPr/>
              <a:t>‹#›</a:t>
            </a:fld>
            <a:endParaRPr lang="en-US"/>
          </a:p>
        </p:txBody>
      </p:sp>
      <p:sp>
        <p:nvSpPr>
          <p:cNvPr id="4" name="Title 3">
            <a:extLst>
              <a:ext uri="{FF2B5EF4-FFF2-40B4-BE49-F238E27FC236}">
                <a16:creationId xmlns:a16="http://schemas.microsoft.com/office/drawing/2014/main" id="{5480F0E7-07B5-CF4D-A3C9-1C162F76A8E0}"/>
              </a:ext>
            </a:extLst>
          </p:cNvPr>
          <p:cNvSpPr>
            <a:spLocks noGrp="1"/>
          </p:cNvSpPr>
          <p:nvPr>
            <p:ph type="title"/>
          </p:nvPr>
        </p:nvSpPr>
        <p:spPr/>
        <p:txBody>
          <a:bodyPr/>
          <a:lstStyle/>
          <a:p>
            <a:r>
              <a:rPr lang="en-GB"/>
              <a:t>Click to edit Master title style</a:t>
            </a:r>
            <a:endParaRPr lang="en-US"/>
          </a:p>
        </p:txBody>
      </p:sp>
      <p:sp>
        <p:nvSpPr>
          <p:cNvPr id="5" name="Footer Placeholder 4">
            <a:extLst>
              <a:ext uri="{FF2B5EF4-FFF2-40B4-BE49-F238E27FC236}">
                <a16:creationId xmlns:a16="http://schemas.microsoft.com/office/drawing/2014/main" id="{D8F352D4-BDE5-5C48-BB97-076C276D643C}"/>
              </a:ext>
            </a:extLst>
          </p:cNvPr>
          <p:cNvSpPr>
            <a:spLocks noGrp="1"/>
          </p:cNvSpPr>
          <p:nvPr>
            <p:ph type="ftr" sz="quarter" idx="20"/>
          </p:nvPr>
        </p:nvSpPr>
        <p:spPr/>
        <p:txBody>
          <a:bodyPr/>
          <a:lstStyle/>
          <a:p>
            <a:endParaRPr lang="en-US" sz="1000"/>
          </a:p>
        </p:txBody>
      </p:sp>
    </p:spTree>
    <p:extLst>
      <p:ext uri="{BB962C8B-B14F-4D97-AF65-F5344CB8AC3E}">
        <p14:creationId xmlns:p14="http://schemas.microsoft.com/office/powerpoint/2010/main" val="4248224077"/>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775793"/>
            <a:ext cx="7155603"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7">
            <a:extLst>
              <a:ext uri="{FF2B5EF4-FFF2-40B4-BE49-F238E27FC236}">
                <a16:creationId xmlns:a16="http://schemas.microsoft.com/office/drawing/2014/main" id="{785EDADD-C884-BD4B-A41C-D8E81E0719ED}"/>
              </a:ext>
            </a:extLst>
          </p:cNvPr>
          <p:cNvSpPr>
            <a:spLocks noGrp="1"/>
          </p:cNvSpPr>
          <p:nvPr>
            <p:ph type="body" sz="quarter" idx="19" hasCustomPrompt="1"/>
          </p:nvPr>
        </p:nvSpPr>
        <p:spPr>
          <a:xfrm>
            <a:off x="552091" y="246579"/>
            <a:ext cx="3782308" cy="290352"/>
          </a:xfrm>
          <a:prstGeom prst="rect">
            <a:avLst/>
          </a:prstGeom>
        </p:spPr>
        <p:txBody>
          <a:bodyPr rIns="0" anchor="t">
            <a:normAutofit/>
          </a:bodyPr>
          <a:lstStyle>
            <a:lvl1pPr algn="l">
              <a:buNone/>
              <a:defRPr sz="1200" b="0" i="1">
                <a:solidFill>
                  <a:schemeClr val="tx2"/>
                </a:solidFill>
                <a:latin typeface="+mn-lt"/>
              </a:defRPr>
            </a:lvl1pPr>
          </a:lstStyle>
          <a:p>
            <a:pPr lvl="0"/>
            <a:r>
              <a:rPr lang="en-US"/>
              <a:t>Section name </a:t>
            </a:r>
          </a:p>
        </p:txBody>
      </p:sp>
      <p:sp>
        <p:nvSpPr>
          <p:cNvPr id="10" name="Slide Number Placeholder 5">
            <a:extLst>
              <a:ext uri="{FF2B5EF4-FFF2-40B4-BE49-F238E27FC236}">
                <a16:creationId xmlns:a16="http://schemas.microsoft.com/office/drawing/2014/main" id="{F763B415-1F89-9A48-8938-54AD3313F465}"/>
              </a:ext>
            </a:extLst>
          </p:cNvPr>
          <p:cNvSpPr>
            <a:spLocks noGrp="1"/>
          </p:cNvSpPr>
          <p:nvPr>
            <p:ph type="sldNum" sz="quarter" idx="4"/>
          </p:nvPr>
        </p:nvSpPr>
        <p:spPr>
          <a:xfrm>
            <a:off x="11324535" y="224520"/>
            <a:ext cx="428609" cy="365125"/>
          </a:xfrm>
          <a:prstGeom prst="rect">
            <a:avLst/>
          </a:prstGeom>
        </p:spPr>
        <p:txBody>
          <a:bodyPr vert="horz" lIns="91440" tIns="45720" rIns="91440" bIns="45720" rtlCol="0" anchor="t"/>
          <a:lstStyle>
            <a:lvl1pPr algn="l">
              <a:defRPr sz="1400" b="1">
                <a:solidFill>
                  <a:schemeClr val="accent2"/>
                </a:solidFill>
              </a:defRPr>
            </a:lvl1pPr>
          </a:lstStyle>
          <a:p>
            <a:fld id="{5C7892DB-DEDB-A440-9305-CDECCE7FBDC0}" type="slidenum">
              <a:rPr lang="en-US" smtClean="0"/>
              <a:pPr/>
              <a:t>‹#›</a:t>
            </a:fld>
            <a:endParaRPr lang="en-US"/>
          </a:p>
        </p:txBody>
      </p:sp>
      <p:sp>
        <p:nvSpPr>
          <p:cNvPr id="4" name="Title 3">
            <a:extLst>
              <a:ext uri="{FF2B5EF4-FFF2-40B4-BE49-F238E27FC236}">
                <a16:creationId xmlns:a16="http://schemas.microsoft.com/office/drawing/2014/main" id="{5480F0E7-07B5-CF4D-A3C9-1C162F76A8E0}"/>
              </a:ext>
            </a:extLst>
          </p:cNvPr>
          <p:cNvSpPr>
            <a:spLocks noGrp="1"/>
          </p:cNvSpPr>
          <p:nvPr>
            <p:ph type="title"/>
          </p:nvPr>
        </p:nvSpPr>
        <p:spPr/>
        <p:txBody>
          <a:bodyPr/>
          <a:lstStyle/>
          <a:p>
            <a:r>
              <a:rPr lang="en-GB"/>
              <a:t>Click to edit Master title style</a:t>
            </a:r>
            <a:endParaRPr lang="en-US"/>
          </a:p>
        </p:txBody>
      </p:sp>
      <p:sp>
        <p:nvSpPr>
          <p:cNvPr id="5" name="Footer Placeholder 4">
            <a:extLst>
              <a:ext uri="{FF2B5EF4-FFF2-40B4-BE49-F238E27FC236}">
                <a16:creationId xmlns:a16="http://schemas.microsoft.com/office/drawing/2014/main" id="{D8F352D4-BDE5-5C48-BB97-076C276D643C}"/>
              </a:ext>
            </a:extLst>
          </p:cNvPr>
          <p:cNvSpPr>
            <a:spLocks noGrp="1"/>
          </p:cNvSpPr>
          <p:nvPr>
            <p:ph type="ftr" sz="quarter" idx="20"/>
          </p:nvPr>
        </p:nvSpPr>
        <p:spPr/>
        <p:txBody>
          <a:bodyPr/>
          <a:lstStyle/>
          <a:p>
            <a:endParaRPr lang="en-US" sz="1000"/>
          </a:p>
        </p:txBody>
      </p:sp>
    </p:spTree>
    <p:extLst>
      <p:ext uri="{BB962C8B-B14F-4D97-AF65-F5344CB8AC3E}">
        <p14:creationId xmlns:p14="http://schemas.microsoft.com/office/powerpoint/2010/main" val="362637930"/>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4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775793"/>
            <a:ext cx="7155603"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7">
            <a:extLst>
              <a:ext uri="{FF2B5EF4-FFF2-40B4-BE49-F238E27FC236}">
                <a16:creationId xmlns:a16="http://schemas.microsoft.com/office/drawing/2014/main" id="{785EDADD-C884-BD4B-A41C-D8E81E0719ED}"/>
              </a:ext>
            </a:extLst>
          </p:cNvPr>
          <p:cNvSpPr>
            <a:spLocks noGrp="1"/>
          </p:cNvSpPr>
          <p:nvPr>
            <p:ph type="body" sz="quarter" idx="19" hasCustomPrompt="1"/>
          </p:nvPr>
        </p:nvSpPr>
        <p:spPr>
          <a:xfrm>
            <a:off x="552091" y="246579"/>
            <a:ext cx="3782308" cy="290352"/>
          </a:xfrm>
          <a:prstGeom prst="rect">
            <a:avLst/>
          </a:prstGeom>
        </p:spPr>
        <p:txBody>
          <a:bodyPr rIns="0" anchor="t">
            <a:normAutofit/>
          </a:bodyPr>
          <a:lstStyle>
            <a:lvl1pPr algn="l">
              <a:buNone/>
              <a:defRPr sz="1200" b="0" i="1">
                <a:solidFill>
                  <a:schemeClr val="tx2"/>
                </a:solidFill>
                <a:latin typeface="+mn-lt"/>
              </a:defRPr>
            </a:lvl1pPr>
          </a:lstStyle>
          <a:p>
            <a:pPr lvl="0"/>
            <a:r>
              <a:rPr lang="en-US"/>
              <a:t>Section name </a:t>
            </a:r>
          </a:p>
        </p:txBody>
      </p:sp>
      <p:sp>
        <p:nvSpPr>
          <p:cNvPr id="10" name="Slide Number Placeholder 5">
            <a:extLst>
              <a:ext uri="{FF2B5EF4-FFF2-40B4-BE49-F238E27FC236}">
                <a16:creationId xmlns:a16="http://schemas.microsoft.com/office/drawing/2014/main" id="{F763B415-1F89-9A48-8938-54AD3313F465}"/>
              </a:ext>
            </a:extLst>
          </p:cNvPr>
          <p:cNvSpPr>
            <a:spLocks noGrp="1"/>
          </p:cNvSpPr>
          <p:nvPr>
            <p:ph type="sldNum" sz="quarter" idx="4"/>
          </p:nvPr>
        </p:nvSpPr>
        <p:spPr>
          <a:xfrm>
            <a:off x="11324535" y="224520"/>
            <a:ext cx="428609" cy="365125"/>
          </a:xfrm>
          <a:prstGeom prst="rect">
            <a:avLst/>
          </a:prstGeom>
        </p:spPr>
        <p:txBody>
          <a:bodyPr vert="horz" lIns="91440" tIns="45720" rIns="91440" bIns="45720" rtlCol="0" anchor="t"/>
          <a:lstStyle>
            <a:lvl1pPr algn="l">
              <a:defRPr sz="1400" b="1">
                <a:solidFill>
                  <a:schemeClr val="accent2"/>
                </a:solidFill>
              </a:defRPr>
            </a:lvl1pPr>
          </a:lstStyle>
          <a:p>
            <a:fld id="{5C7892DB-DEDB-A440-9305-CDECCE7FBDC0}" type="slidenum">
              <a:rPr lang="en-US" smtClean="0"/>
              <a:pPr/>
              <a:t>‹#›</a:t>
            </a:fld>
            <a:endParaRPr lang="en-US"/>
          </a:p>
        </p:txBody>
      </p:sp>
      <p:sp>
        <p:nvSpPr>
          <p:cNvPr id="4" name="Title 3">
            <a:extLst>
              <a:ext uri="{FF2B5EF4-FFF2-40B4-BE49-F238E27FC236}">
                <a16:creationId xmlns:a16="http://schemas.microsoft.com/office/drawing/2014/main" id="{5480F0E7-07B5-CF4D-A3C9-1C162F76A8E0}"/>
              </a:ext>
            </a:extLst>
          </p:cNvPr>
          <p:cNvSpPr>
            <a:spLocks noGrp="1"/>
          </p:cNvSpPr>
          <p:nvPr>
            <p:ph type="title"/>
          </p:nvPr>
        </p:nvSpPr>
        <p:spPr/>
        <p:txBody>
          <a:bodyPr/>
          <a:lstStyle/>
          <a:p>
            <a:r>
              <a:rPr lang="en-GB"/>
              <a:t>Click to edit Master title style</a:t>
            </a:r>
            <a:endParaRPr lang="en-US"/>
          </a:p>
        </p:txBody>
      </p:sp>
      <p:sp>
        <p:nvSpPr>
          <p:cNvPr id="5" name="Footer Placeholder 4">
            <a:extLst>
              <a:ext uri="{FF2B5EF4-FFF2-40B4-BE49-F238E27FC236}">
                <a16:creationId xmlns:a16="http://schemas.microsoft.com/office/drawing/2014/main" id="{D8F352D4-BDE5-5C48-BB97-076C276D643C}"/>
              </a:ext>
            </a:extLst>
          </p:cNvPr>
          <p:cNvSpPr>
            <a:spLocks noGrp="1"/>
          </p:cNvSpPr>
          <p:nvPr>
            <p:ph type="ftr" sz="quarter" idx="20"/>
          </p:nvPr>
        </p:nvSpPr>
        <p:spPr/>
        <p:txBody>
          <a:bodyPr/>
          <a:lstStyle/>
          <a:p>
            <a:endParaRPr lang="en-US" sz="1000"/>
          </a:p>
        </p:txBody>
      </p:sp>
    </p:spTree>
    <p:extLst>
      <p:ext uri="{BB962C8B-B14F-4D97-AF65-F5344CB8AC3E}">
        <p14:creationId xmlns:p14="http://schemas.microsoft.com/office/powerpoint/2010/main" val="2161903156"/>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9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775793"/>
            <a:ext cx="7155603"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7">
            <a:extLst>
              <a:ext uri="{FF2B5EF4-FFF2-40B4-BE49-F238E27FC236}">
                <a16:creationId xmlns:a16="http://schemas.microsoft.com/office/drawing/2014/main" id="{785EDADD-C884-BD4B-A41C-D8E81E0719ED}"/>
              </a:ext>
            </a:extLst>
          </p:cNvPr>
          <p:cNvSpPr>
            <a:spLocks noGrp="1"/>
          </p:cNvSpPr>
          <p:nvPr>
            <p:ph type="body" sz="quarter" idx="19" hasCustomPrompt="1"/>
          </p:nvPr>
        </p:nvSpPr>
        <p:spPr>
          <a:xfrm>
            <a:off x="552091" y="246579"/>
            <a:ext cx="3782308" cy="290352"/>
          </a:xfrm>
          <a:prstGeom prst="rect">
            <a:avLst/>
          </a:prstGeom>
        </p:spPr>
        <p:txBody>
          <a:bodyPr rIns="0" anchor="t">
            <a:normAutofit/>
          </a:bodyPr>
          <a:lstStyle>
            <a:lvl1pPr algn="l">
              <a:buNone/>
              <a:defRPr sz="1200" b="0" i="1">
                <a:solidFill>
                  <a:schemeClr val="tx2"/>
                </a:solidFill>
                <a:latin typeface="+mn-lt"/>
              </a:defRPr>
            </a:lvl1pPr>
          </a:lstStyle>
          <a:p>
            <a:pPr lvl="0"/>
            <a:r>
              <a:rPr lang="en-US"/>
              <a:t>Section name </a:t>
            </a:r>
          </a:p>
        </p:txBody>
      </p:sp>
      <p:sp>
        <p:nvSpPr>
          <p:cNvPr id="10" name="Slide Number Placeholder 5">
            <a:extLst>
              <a:ext uri="{FF2B5EF4-FFF2-40B4-BE49-F238E27FC236}">
                <a16:creationId xmlns:a16="http://schemas.microsoft.com/office/drawing/2014/main" id="{F763B415-1F89-9A48-8938-54AD3313F465}"/>
              </a:ext>
            </a:extLst>
          </p:cNvPr>
          <p:cNvSpPr>
            <a:spLocks noGrp="1"/>
          </p:cNvSpPr>
          <p:nvPr>
            <p:ph type="sldNum" sz="quarter" idx="4"/>
          </p:nvPr>
        </p:nvSpPr>
        <p:spPr>
          <a:xfrm>
            <a:off x="11324535" y="224520"/>
            <a:ext cx="428609" cy="365125"/>
          </a:xfrm>
          <a:prstGeom prst="rect">
            <a:avLst/>
          </a:prstGeom>
        </p:spPr>
        <p:txBody>
          <a:bodyPr vert="horz" lIns="91440" tIns="45720" rIns="91440" bIns="45720" rtlCol="0" anchor="t"/>
          <a:lstStyle>
            <a:lvl1pPr algn="l">
              <a:defRPr sz="1400" b="1">
                <a:solidFill>
                  <a:schemeClr val="accent2"/>
                </a:solidFill>
              </a:defRPr>
            </a:lvl1pPr>
          </a:lstStyle>
          <a:p>
            <a:fld id="{5C7892DB-DEDB-A440-9305-CDECCE7FBDC0}" type="slidenum">
              <a:rPr lang="en-US" smtClean="0"/>
              <a:pPr/>
              <a:t>‹#›</a:t>
            </a:fld>
            <a:endParaRPr lang="en-US"/>
          </a:p>
        </p:txBody>
      </p:sp>
      <p:sp>
        <p:nvSpPr>
          <p:cNvPr id="4" name="Title 3">
            <a:extLst>
              <a:ext uri="{FF2B5EF4-FFF2-40B4-BE49-F238E27FC236}">
                <a16:creationId xmlns:a16="http://schemas.microsoft.com/office/drawing/2014/main" id="{5480F0E7-07B5-CF4D-A3C9-1C162F76A8E0}"/>
              </a:ext>
            </a:extLst>
          </p:cNvPr>
          <p:cNvSpPr>
            <a:spLocks noGrp="1"/>
          </p:cNvSpPr>
          <p:nvPr>
            <p:ph type="title"/>
          </p:nvPr>
        </p:nvSpPr>
        <p:spPr/>
        <p:txBody>
          <a:bodyPr/>
          <a:lstStyle/>
          <a:p>
            <a:r>
              <a:rPr lang="en-GB"/>
              <a:t>Click to edit Master title style</a:t>
            </a:r>
            <a:endParaRPr lang="en-US"/>
          </a:p>
        </p:txBody>
      </p:sp>
      <p:sp>
        <p:nvSpPr>
          <p:cNvPr id="5" name="Footer Placeholder 4">
            <a:extLst>
              <a:ext uri="{FF2B5EF4-FFF2-40B4-BE49-F238E27FC236}">
                <a16:creationId xmlns:a16="http://schemas.microsoft.com/office/drawing/2014/main" id="{D8F352D4-BDE5-5C48-BB97-076C276D643C}"/>
              </a:ext>
            </a:extLst>
          </p:cNvPr>
          <p:cNvSpPr>
            <a:spLocks noGrp="1"/>
          </p:cNvSpPr>
          <p:nvPr>
            <p:ph type="ftr" sz="quarter" idx="20"/>
          </p:nvPr>
        </p:nvSpPr>
        <p:spPr/>
        <p:txBody>
          <a:bodyPr/>
          <a:lstStyle/>
          <a:p>
            <a:endParaRPr lang="en-US" sz="1000"/>
          </a:p>
        </p:txBody>
      </p:sp>
    </p:spTree>
    <p:extLst>
      <p:ext uri="{BB962C8B-B14F-4D97-AF65-F5344CB8AC3E}">
        <p14:creationId xmlns:p14="http://schemas.microsoft.com/office/powerpoint/2010/main" val="787996732"/>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23394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429034" y="686688"/>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GB"/>
              <a:t>Click to edit Master subtitle style</a:t>
            </a:r>
            <a:endParaRPr lang="en-US"/>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GB"/>
              <a:t>Click to edit Master title style</a:t>
            </a:r>
            <a:endParaRPr lang="en-US"/>
          </a:p>
        </p:txBody>
      </p:sp>
      <p:sp>
        <p:nvSpPr>
          <p:cNvPr id="3" name="Rectangle 2">
            <a:extLst>
              <a:ext uri="{FF2B5EF4-FFF2-40B4-BE49-F238E27FC236}">
                <a16:creationId xmlns:a16="http://schemas.microsoft.com/office/drawing/2014/main" id="{69B1C6AD-60DA-DB45-B19D-05CF4A1424A8}"/>
              </a:ext>
            </a:extLst>
          </p:cNvPr>
          <p:cNvSpPr/>
          <p:nvPr userDrawn="1"/>
        </p:nvSpPr>
        <p:spPr>
          <a:xfrm>
            <a:off x="653666" y="409466"/>
            <a:ext cx="10884665" cy="6224530"/>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Do not use for Covid-19 Vaccine Delivery Facility</a:t>
            </a:r>
          </a:p>
        </p:txBody>
      </p:sp>
    </p:spTree>
    <p:extLst>
      <p:ext uri="{BB962C8B-B14F-4D97-AF65-F5344CB8AC3E}">
        <p14:creationId xmlns:p14="http://schemas.microsoft.com/office/powerpoint/2010/main" val="26225216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771529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GB"/>
              <a:t>Click to edit Master title style</a:t>
            </a:r>
            <a:endParaRPr lang="en-US"/>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GB"/>
              <a:t>Click to edit Master subtitle style</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2" name="TextBox 1">
            <a:extLst>
              <a:ext uri="{FF2B5EF4-FFF2-40B4-BE49-F238E27FC236}">
                <a16:creationId xmlns:a16="http://schemas.microsoft.com/office/drawing/2014/main" id="{ABD6A43F-F0E0-A54E-9E5C-25453008E10F}"/>
              </a:ext>
            </a:extLst>
          </p:cNvPr>
          <p:cNvSpPr txBox="1"/>
          <p:nvPr userDrawn="1"/>
        </p:nvSpPr>
        <p:spPr>
          <a:xfrm>
            <a:off x="10851614" y="663215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sp>
        <p:nvSpPr>
          <p:cNvPr id="12" name="Rectangle 11">
            <a:extLst>
              <a:ext uri="{FF2B5EF4-FFF2-40B4-BE49-F238E27FC236}">
                <a16:creationId xmlns:a16="http://schemas.microsoft.com/office/drawing/2014/main" id="{CFC8D804-EAFB-954D-8826-E63DC8819BB0}"/>
              </a:ext>
            </a:extLst>
          </p:cNvPr>
          <p:cNvSpPr/>
          <p:nvPr userDrawn="1"/>
        </p:nvSpPr>
        <p:spPr>
          <a:xfrm>
            <a:off x="10560875" y="6584816"/>
            <a:ext cx="914400" cy="27318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4261642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11086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GB"/>
              <a:t>Click to edit Master title style</a:t>
            </a:r>
            <a:endParaRPr lang="en-US"/>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Rectangle 12">
            <a:extLst>
              <a:ext uri="{FF2B5EF4-FFF2-40B4-BE49-F238E27FC236}">
                <a16:creationId xmlns:a16="http://schemas.microsoft.com/office/drawing/2014/main" id="{372B96DD-3DE2-B344-A869-96377FCA8DC5}"/>
              </a:ext>
            </a:extLst>
          </p:cNvPr>
          <p:cNvSpPr/>
          <p:nvPr userDrawn="1"/>
        </p:nvSpPr>
        <p:spPr>
          <a:xfrm>
            <a:off x="10560875" y="6584816"/>
            <a:ext cx="914400" cy="27318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10354187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269058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GB"/>
              <a:t>Click to edit Master title style</a:t>
            </a:r>
            <a:endParaRPr lang="en-US"/>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9" name="Rectangle 8">
            <a:extLst>
              <a:ext uri="{FF2B5EF4-FFF2-40B4-BE49-F238E27FC236}">
                <a16:creationId xmlns:a16="http://schemas.microsoft.com/office/drawing/2014/main" id="{1D5A2D46-9D69-604A-B339-036BB15834C6}"/>
              </a:ext>
            </a:extLst>
          </p:cNvPr>
          <p:cNvSpPr/>
          <p:nvPr userDrawn="1"/>
        </p:nvSpPr>
        <p:spPr>
          <a:xfrm>
            <a:off x="10560875" y="6584816"/>
            <a:ext cx="914400" cy="27318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22796251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49588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GB"/>
              <a:t>Click to edit Master title style</a:t>
            </a:r>
            <a:endParaRPr lang="en-US"/>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2" name="Rectangle 11">
            <a:extLst>
              <a:ext uri="{FF2B5EF4-FFF2-40B4-BE49-F238E27FC236}">
                <a16:creationId xmlns:a16="http://schemas.microsoft.com/office/drawing/2014/main" id="{D6906805-ED11-9440-812B-1C598FEE4D77}"/>
              </a:ext>
            </a:extLst>
          </p:cNvPr>
          <p:cNvSpPr/>
          <p:nvPr userDrawn="1"/>
        </p:nvSpPr>
        <p:spPr>
          <a:xfrm>
            <a:off x="10560875" y="6584816"/>
            <a:ext cx="914400" cy="27318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26381751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356782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GB"/>
              <a:t>Click to edit Master title style</a:t>
            </a:r>
            <a:endParaRPr lang="en-US"/>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6522437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840699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Rectangle 12">
            <a:extLst>
              <a:ext uri="{FF2B5EF4-FFF2-40B4-BE49-F238E27FC236}">
                <a16:creationId xmlns:a16="http://schemas.microsoft.com/office/drawing/2014/main" id="{760FB251-557C-8644-9792-5CEFA18E2F40}"/>
              </a:ext>
            </a:extLst>
          </p:cNvPr>
          <p:cNvSpPr/>
          <p:nvPr userDrawn="1"/>
        </p:nvSpPr>
        <p:spPr>
          <a:xfrm>
            <a:off x="10560875" y="6584816"/>
            <a:ext cx="914400" cy="27318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40582578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940831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80975B6E-5B19-7F42-B23F-DE171AC1F334}"/>
              </a:ext>
            </a:extLst>
          </p:cNvPr>
          <p:cNvSpPr/>
          <p:nvPr userDrawn="1"/>
        </p:nvSpPr>
        <p:spPr>
          <a:xfrm>
            <a:off x="10560875" y="6584816"/>
            <a:ext cx="914400" cy="273184"/>
          </a:xfrm>
          <a:prstGeom prst="rect">
            <a:avLst/>
          </a:prstGeom>
          <a:solidFill>
            <a:srgbClr val="F2E7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20944508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659178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id="{A4E97B92-25B2-B849-8B67-903D30B09369}"/>
              </a:ext>
            </a:extLst>
          </p:cNvPr>
          <p:cNvSpPr/>
          <p:nvPr userDrawn="1"/>
        </p:nvSpPr>
        <p:spPr>
          <a:xfrm>
            <a:off x="10560875" y="6584816"/>
            <a:ext cx="914400" cy="273184"/>
          </a:xfrm>
          <a:prstGeom prst="rect">
            <a:avLst/>
          </a:prstGeom>
          <a:solidFill>
            <a:srgbClr val="F2E7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11218817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284271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a:spAutoFit/>
          </a:body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id="{EA37FF94-D129-4744-B67C-FC4D40752292}"/>
              </a:ext>
            </a:extLst>
          </p:cNvPr>
          <p:cNvSpPr/>
          <p:nvPr userDrawn="1"/>
        </p:nvSpPr>
        <p:spPr>
          <a:xfrm>
            <a:off x="10560875" y="6584816"/>
            <a:ext cx="914400" cy="273184"/>
          </a:xfrm>
          <a:prstGeom prst="rect">
            <a:avLst/>
          </a:prstGeom>
          <a:solidFill>
            <a:srgbClr val="F2E7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1124383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4138067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a:spAutoFit/>
          </a:bodyPr>
          <a:lstStyle/>
          <a:p>
            <a:r>
              <a:rPr lang="en-GB"/>
              <a:t>Click to edit Master title style</a:t>
            </a:r>
            <a:endParaRPr lang="en-US"/>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id="{E4376537-8216-7F40-A8E9-CBEFDDDADA80}"/>
              </a:ext>
            </a:extLst>
          </p:cNvPr>
          <p:cNvSpPr/>
          <p:nvPr userDrawn="1"/>
        </p:nvSpPr>
        <p:spPr>
          <a:xfrm>
            <a:off x="10560875" y="6584816"/>
            <a:ext cx="914400" cy="273184"/>
          </a:xfrm>
          <a:prstGeom prst="rect">
            <a:avLst/>
          </a:prstGeom>
          <a:solidFill>
            <a:srgbClr val="F2E7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37328086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318513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a:noAutofit/>
          </a:body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id="{A49E2ADC-076B-5E40-B5F3-112DEE9E7D72}"/>
              </a:ext>
            </a:extLst>
          </p:cNvPr>
          <p:cNvSpPr/>
          <p:nvPr userDrawn="1"/>
        </p:nvSpPr>
        <p:spPr>
          <a:xfrm>
            <a:off x="10560875" y="6584816"/>
            <a:ext cx="914400" cy="273184"/>
          </a:xfrm>
          <a:prstGeom prst="rect">
            <a:avLst/>
          </a:prstGeom>
          <a:solidFill>
            <a:srgbClr val="F2E7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33203157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637356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a:spAutoFit/>
          </a:bodyPr>
          <a:lstStyle>
            <a:lvl1pPr>
              <a:defRPr/>
            </a:lvl1pPr>
          </a:lstStyle>
          <a:p>
            <a:r>
              <a:rPr lang="en-GB"/>
              <a:t>Click to edit Master title style</a:t>
            </a:r>
            <a:endParaRPr lang="en-US"/>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A8194170-A082-ED42-8D5B-ED10E796DDB9}"/>
              </a:ext>
            </a:extLst>
          </p:cNvPr>
          <p:cNvSpPr/>
          <p:nvPr userDrawn="1"/>
        </p:nvSpPr>
        <p:spPr>
          <a:xfrm>
            <a:off x="10560875" y="6584816"/>
            <a:ext cx="914400" cy="27318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37581614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893764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Rectangle 12">
            <a:extLst>
              <a:ext uri="{FF2B5EF4-FFF2-40B4-BE49-F238E27FC236}">
                <a16:creationId xmlns:a16="http://schemas.microsoft.com/office/drawing/2014/main" id="{A7A993EC-F692-0142-9008-A5643A696852}"/>
              </a:ext>
            </a:extLst>
          </p:cNvPr>
          <p:cNvSpPr/>
          <p:nvPr userDrawn="1"/>
        </p:nvSpPr>
        <p:spPr>
          <a:xfrm>
            <a:off x="10560875" y="6584816"/>
            <a:ext cx="914400" cy="27318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34587650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743505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
        <p:nvSpPr>
          <p:cNvPr id="8" name="Rectangle 7">
            <a:extLst>
              <a:ext uri="{FF2B5EF4-FFF2-40B4-BE49-F238E27FC236}">
                <a16:creationId xmlns:a16="http://schemas.microsoft.com/office/drawing/2014/main" id="{8EFF67E0-3229-234F-A27A-8C4BC23AA572}"/>
              </a:ext>
            </a:extLst>
          </p:cNvPr>
          <p:cNvSpPr/>
          <p:nvPr userDrawn="1"/>
        </p:nvSpPr>
        <p:spPr>
          <a:xfrm>
            <a:off x="826265" y="352540"/>
            <a:ext cx="10884665" cy="6224530"/>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Do not use for Covid-19 Vaccine Delivery Facility</a:t>
            </a:r>
          </a:p>
        </p:txBody>
      </p:sp>
    </p:spTree>
    <p:extLst>
      <p:ext uri="{BB962C8B-B14F-4D97-AF65-F5344CB8AC3E}">
        <p14:creationId xmlns:p14="http://schemas.microsoft.com/office/powerpoint/2010/main" val="11916943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263D28E-A044-4A27-8E65-0B05919B7502}"/>
              </a:ext>
            </a:extLst>
          </p:cNvPr>
          <p:cNvGraphicFramePr>
            <a:graphicFrameLocks noChangeAspect="1"/>
          </p:cNvGraphicFramePr>
          <p:nvPr userDrawn="1">
            <p:custDataLst>
              <p:tags r:id="rId1"/>
            </p:custDataLst>
            <p:extLst>
              <p:ext uri="{D42A27DB-BD31-4B8C-83A1-F6EECF244321}">
                <p14:modId xmlns:p14="http://schemas.microsoft.com/office/powerpoint/2010/main" val="1949766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2263D28E-A044-4A27-8E65-0B05919B75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0D23964-C4D9-4E4D-9E13-E4AD5F9F44BA}"/>
              </a:ext>
            </a:extLst>
          </p:cNvPr>
          <p:cNvSpPr/>
          <p:nvPr userDrawn="1"/>
        </p:nvSpPr>
        <p:spPr>
          <a:xfrm>
            <a:off x="10560875" y="6584816"/>
            <a:ext cx="914400" cy="27318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14466393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632991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GB"/>
              <a:t>Click to edit Master title style</a:t>
            </a:r>
            <a:endParaRPr lang="en-US"/>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5616048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7_Title_2 text columns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1" y="0"/>
            <a:ext cx="158751"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15" name="Text Placeholder 7">
            <a:extLst>
              <a:ext uri="{FF2B5EF4-FFF2-40B4-BE49-F238E27FC236}">
                <a16:creationId xmlns:a16="http://schemas.microsoft.com/office/drawing/2014/main" id="{0C77F5A8-3CBB-5F43-8C9C-BD95C7518998}"/>
              </a:ext>
            </a:extLst>
          </p:cNvPr>
          <p:cNvSpPr>
            <a:spLocks noGrp="1"/>
          </p:cNvSpPr>
          <p:nvPr>
            <p:ph type="body" sz="quarter" idx="17"/>
          </p:nvPr>
        </p:nvSpPr>
        <p:spPr>
          <a:xfrm>
            <a:off x="6073366" y="1668219"/>
            <a:ext cx="5319247" cy="406841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27">
            <a:extLst>
              <a:ext uri="{FF2B5EF4-FFF2-40B4-BE49-F238E27FC236}">
                <a16:creationId xmlns:a16="http://schemas.microsoft.com/office/drawing/2014/main" id="{CFF1C99E-F26C-8B48-9830-A731A6CD6696}"/>
              </a:ext>
            </a:extLst>
          </p:cNvPr>
          <p:cNvSpPr>
            <a:spLocks noGrp="1"/>
          </p:cNvSpPr>
          <p:nvPr>
            <p:ph type="body" sz="quarter" idx="19" hasCustomPrompt="1"/>
          </p:nvPr>
        </p:nvSpPr>
        <p:spPr>
          <a:xfrm>
            <a:off x="552091" y="246579"/>
            <a:ext cx="3782308" cy="290352"/>
          </a:xfrm>
          <a:prstGeom prst="rect">
            <a:avLst/>
          </a:prstGeom>
        </p:spPr>
        <p:txBody>
          <a:bodyPr rIns="0" anchor="t">
            <a:normAutofit/>
          </a:bodyPr>
          <a:lstStyle>
            <a:lvl1pPr algn="l">
              <a:buNone/>
              <a:defRPr sz="900" b="0" i="1">
                <a:solidFill>
                  <a:schemeClr val="tx2"/>
                </a:solidFill>
                <a:latin typeface="+mn-lt"/>
              </a:defRPr>
            </a:lvl1pPr>
          </a:lstStyle>
          <a:p>
            <a:pPr lvl="0"/>
            <a:r>
              <a:rPr lang="en-US"/>
              <a:t>Section name </a:t>
            </a:r>
          </a:p>
        </p:txBody>
      </p:sp>
      <p:sp>
        <p:nvSpPr>
          <p:cNvPr id="14" name="Slide Number Placeholder 5">
            <a:extLst>
              <a:ext uri="{FF2B5EF4-FFF2-40B4-BE49-F238E27FC236}">
                <a16:creationId xmlns:a16="http://schemas.microsoft.com/office/drawing/2014/main" id="{F24F3FBC-0E6C-C449-A900-102CABF0C5B1}"/>
              </a:ext>
            </a:extLst>
          </p:cNvPr>
          <p:cNvSpPr>
            <a:spLocks noGrp="1"/>
          </p:cNvSpPr>
          <p:nvPr>
            <p:ph type="sldNum" sz="quarter" idx="4"/>
          </p:nvPr>
        </p:nvSpPr>
        <p:spPr>
          <a:xfrm>
            <a:off x="11324537" y="224522"/>
            <a:ext cx="428609" cy="365125"/>
          </a:xfrm>
          <a:prstGeom prst="rect">
            <a:avLst/>
          </a:prstGeom>
        </p:spPr>
        <p:txBody>
          <a:bodyPr vert="horz" lIns="91440" tIns="45720" rIns="91440" bIns="45720" rtlCol="0" anchor="t"/>
          <a:lstStyle>
            <a:lvl1pPr algn="l">
              <a:defRPr sz="1050" b="1">
                <a:solidFill>
                  <a:schemeClr val="accent2"/>
                </a:solidFill>
              </a:defRPr>
            </a:lvl1pPr>
          </a:lstStyle>
          <a:p>
            <a:fld id="{5C7892DB-DEDB-A440-9305-CDECCE7FBDC0}" type="slidenum">
              <a:rPr lang="en-US" smtClean="0"/>
              <a:pPr/>
              <a:t>‹#›</a:t>
            </a:fld>
            <a:endParaRPr lang="en-US"/>
          </a:p>
        </p:txBody>
      </p:sp>
      <p:sp>
        <p:nvSpPr>
          <p:cNvPr id="4" name="Title 3">
            <a:extLst>
              <a:ext uri="{FF2B5EF4-FFF2-40B4-BE49-F238E27FC236}">
                <a16:creationId xmlns:a16="http://schemas.microsoft.com/office/drawing/2014/main" id="{B747B00D-C86A-D947-9782-3D7CB86D7AC9}"/>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18AF1095-F35B-9545-B681-37086B5FAFD6}"/>
              </a:ext>
            </a:extLst>
          </p:cNvPr>
          <p:cNvSpPr>
            <a:spLocks noGrp="1"/>
          </p:cNvSpPr>
          <p:nvPr>
            <p:ph type="ftr" sz="quarter" idx="20"/>
          </p:nvPr>
        </p:nvSpPr>
        <p:spPr/>
        <p:txBody>
          <a:bodyPr/>
          <a:lstStyle/>
          <a:p>
            <a:endParaRPr lang="en-US" sz="750"/>
          </a:p>
        </p:txBody>
      </p:sp>
    </p:spTree>
    <p:extLst>
      <p:ext uri="{BB962C8B-B14F-4D97-AF65-F5344CB8AC3E}">
        <p14:creationId xmlns:p14="http://schemas.microsoft.com/office/powerpoint/2010/main" val="2553234412"/>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_2 text columns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11" name="Text Placeholder 7">
            <a:extLst>
              <a:ext uri="{FF2B5EF4-FFF2-40B4-BE49-F238E27FC236}">
                <a16:creationId xmlns:a16="http://schemas.microsoft.com/office/drawing/2014/main" id="{41DB38B2-0368-E24D-BCA7-9A22F3C6F543}"/>
              </a:ext>
            </a:extLst>
          </p:cNvPr>
          <p:cNvSpPr>
            <a:spLocks noGrp="1"/>
          </p:cNvSpPr>
          <p:nvPr>
            <p:ph type="body" sz="quarter" idx="14"/>
          </p:nvPr>
        </p:nvSpPr>
        <p:spPr>
          <a:xfrm>
            <a:off x="1040131" y="1775793"/>
            <a:ext cx="3211830"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7">
            <a:extLst>
              <a:ext uri="{FF2B5EF4-FFF2-40B4-BE49-F238E27FC236}">
                <a16:creationId xmlns:a16="http://schemas.microsoft.com/office/drawing/2014/main" id="{360E3780-63D8-B44A-842E-BC8E859E9A6A}"/>
              </a:ext>
            </a:extLst>
          </p:cNvPr>
          <p:cNvSpPr>
            <a:spLocks noGrp="1"/>
          </p:cNvSpPr>
          <p:nvPr>
            <p:ph type="body" sz="quarter" idx="17"/>
          </p:nvPr>
        </p:nvSpPr>
        <p:spPr>
          <a:xfrm>
            <a:off x="4560571" y="1775793"/>
            <a:ext cx="3211830"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Text Placeholder 7">
            <a:extLst>
              <a:ext uri="{FF2B5EF4-FFF2-40B4-BE49-F238E27FC236}">
                <a16:creationId xmlns:a16="http://schemas.microsoft.com/office/drawing/2014/main" id="{4EB5EC20-128B-2646-94F0-18F4ACE74596}"/>
              </a:ext>
            </a:extLst>
          </p:cNvPr>
          <p:cNvSpPr>
            <a:spLocks noGrp="1"/>
          </p:cNvSpPr>
          <p:nvPr>
            <p:ph type="body" sz="quarter" idx="21"/>
          </p:nvPr>
        </p:nvSpPr>
        <p:spPr>
          <a:xfrm>
            <a:off x="8088630" y="1775793"/>
            <a:ext cx="3211830"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Text Placeholder 27">
            <a:extLst>
              <a:ext uri="{FF2B5EF4-FFF2-40B4-BE49-F238E27FC236}">
                <a16:creationId xmlns:a16="http://schemas.microsoft.com/office/drawing/2014/main" id="{F71E1128-B6E4-AF41-90D1-7A1E36A7A5BF}"/>
              </a:ext>
            </a:extLst>
          </p:cNvPr>
          <p:cNvSpPr>
            <a:spLocks noGrp="1"/>
          </p:cNvSpPr>
          <p:nvPr>
            <p:ph type="body" sz="quarter" idx="13" hasCustomPrompt="1"/>
          </p:nvPr>
        </p:nvSpPr>
        <p:spPr>
          <a:xfrm>
            <a:off x="5686816" y="246579"/>
            <a:ext cx="5499646" cy="279514"/>
          </a:xfrm>
        </p:spPr>
        <p:txBody>
          <a:bodyPr rIns="0" anchor="t">
            <a:normAutofit/>
          </a:bodyPr>
          <a:lstStyle>
            <a:lvl1pPr algn="r">
              <a:buNone/>
              <a:defRPr sz="1200" b="0">
                <a:latin typeface="+mn-lt"/>
              </a:defRPr>
            </a:lvl1pPr>
          </a:lstStyle>
          <a:p>
            <a:pPr lvl="0"/>
            <a:r>
              <a:rPr lang="en-US"/>
              <a:t>Section name |</a:t>
            </a:r>
          </a:p>
        </p:txBody>
      </p:sp>
      <p:sp>
        <p:nvSpPr>
          <p:cNvPr id="19" name="Rectangle 18">
            <a:extLst>
              <a:ext uri="{FF2B5EF4-FFF2-40B4-BE49-F238E27FC236}">
                <a16:creationId xmlns:a16="http://schemas.microsoft.com/office/drawing/2014/main" id="{0A2CDF3B-E28D-A549-A5A7-B7E1A1E5A035}"/>
              </a:ext>
            </a:extLst>
          </p:cNvPr>
          <p:cNvSpPr/>
          <p:nvPr userDrawn="1"/>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4" name="Title 3">
            <a:extLst>
              <a:ext uri="{FF2B5EF4-FFF2-40B4-BE49-F238E27FC236}">
                <a16:creationId xmlns:a16="http://schemas.microsoft.com/office/drawing/2014/main" id="{9FD63F86-1F0E-0C41-96CA-7C301A7ADDBD}"/>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1076930733"/>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2" y="805392"/>
            <a:ext cx="10607189" cy="537986"/>
          </a:xfrm>
        </p:spPr>
        <p:txBody>
          <a:bodyPr>
            <a:noAutofit/>
          </a:bodyPr>
          <a:lstStyle>
            <a:lvl1pPr>
              <a:defRPr sz="2400">
                <a:solidFill>
                  <a:schemeClr val="accent1"/>
                </a:solidFill>
              </a:defRPr>
            </a:lvl1pPr>
          </a:lstStyle>
          <a:p>
            <a:r>
              <a:rPr lang="en-US"/>
              <a:t>Click to edit Master title style</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595170"/>
            <a:ext cx="10158138" cy="4068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6263014" y="246579"/>
            <a:ext cx="4923448" cy="279514"/>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62057704"/>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4155704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GB"/>
              <a:t>Click to edit Master title style</a:t>
            </a:r>
            <a:endParaRPr lang="en-US"/>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8559410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00174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0882278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27992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1861858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353977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4231916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055521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a:spAutoFit/>
          </a:body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69335535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9" Type="http://schemas.openxmlformats.org/officeDocument/2006/relationships/tags" Target="../tags/tag15.xml"/><Relationship Id="rId21" Type="http://schemas.openxmlformats.org/officeDocument/2006/relationships/slideLayout" Target="../slideLayouts/slideLayout21.xml"/><Relationship Id="rId34" Type="http://schemas.openxmlformats.org/officeDocument/2006/relationships/tags" Target="../tags/tag10.xml"/><Relationship Id="rId42" Type="http://schemas.openxmlformats.org/officeDocument/2006/relationships/tags" Target="../tags/tag18.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8.xml"/><Relationship Id="rId37" Type="http://schemas.openxmlformats.org/officeDocument/2006/relationships/tags" Target="../tags/tag13.xml"/><Relationship Id="rId40" Type="http://schemas.openxmlformats.org/officeDocument/2006/relationships/tags" Target="../tags/tag16.xml"/><Relationship Id="rId45" Type="http://schemas.openxmlformats.org/officeDocument/2006/relationships/tags" Target="../tags/tag2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4.xml"/><Relationship Id="rId36" Type="http://schemas.openxmlformats.org/officeDocument/2006/relationships/tags" Target="../tags/tag1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7.xml"/><Relationship Id="rId44" Type="http://schemas.openxmlformats.org/officeDocument/2006/relationships/tags" Target="../tags/tag2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tags" Target="../tags/tag6.xml"/><Relationship Id="rId35" Type="http://schemas.openxmlformats.org/officeDocument/2006/relationships/tags" Target="../tags/tag11.xml"/><Relationship Id="rId43" Type="http://schemas.openxmlformats.org/officeDocument/2006/relationships/tags" Target="../tags/tag19.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tags" Target="../tags/tag9.xml"/><Relationship Id="rId38" Type="http://schemas.openxmlformats.org/officeDocument/2006/relationships/tags" Target="../tags/tag14.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tags" Target="../tags/tag1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ags" Target="../tags/tag133.xml"/><Relationship Id="rId39" Type="http://schemas.openxmlformats.org/officeDocument/2006/relationships/tags" Target="../tags/tag146.xml"/><Relationship Id="rId21" Type="http://schemas.openxmlformats.org/officeDocument/2006/relationships/tags" Target="../tags/tag128.xml"/><Relationship Id="rId34" Type="http://schemas.openxmlformats.org/officeDocument/2006/relationships/tags" Target="../tags/tag141.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tags" Target="../tags/tag127.xml"/><Relationship Id="rId29" Type="http://schemas.openxmlformats.org/officeDocument/2006/relationships/tags" Target="../tags/tag136.xml"/><Relationship Id="rId41"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ags" Target="../tags/tag131.xml"/><Relationship Id="rId32" Type="http://schemas.openxmlformats.org/officeDocument/2006/relationships/tags" Target="../tags/tag139.xml"/><Relationship Id="rId37" Type="http://schemas.openxmlformats.org/officeDocument/2006/relationships/tags" Target="../tags/tag144.xml"/><Relationship Id="rId40" Type="http://schemas.openxmlformats.org/officeDocument/2006/relationships/oleObject" Target="../embeddings/oleObject25.bin"/><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ags" Target="../tags/tag130.xml"/><Relationship Id="rId28" Type="http://schemas.openxmlformats.org/officeDocument/2006/relationships/tags" Target="../tags/tag135.xml"/><Relationship Id="rId36" Type="http://schemas.openxmlformats.org/officeDocument/2006/relationships/tags" Target="../tags/tag143.xml"/><Relationship Id="rId10" Type="http://schemas.openxmlformats.org/officeDocument/2006/relationships/slideLayout" Target="../slideLayouts/slideLayout34.xml"/><Relationship Id="rId19" Type="http://schemas.openxmlformats.org/officeDocument/2006/relationships/theme" Target="../theme/theme2.xml"/><Relationship Id="rId31" Type="http://schemas.openxmlformats.org/officeDocument/2006/relationships/tags" Target="../tags/tag13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ags" Target="../tags/tag129.xml"/><Relationship Id="rId27" Type="http://schemas.openxmlformats.org/officeDocument/2006/relationships/tags" Target="../tags/tag134.xml"/><Relationship Id="rId30" Type="http://schemas.openxmlformats.org/officeDocument/2006/relationships/tags" Target="../tags/tag137.xml"/><Relationship Id="rId35" Type="http://schemas.openxmlformats.org/officeDocument/2006/relationships/tags" Target="../tags/tag142.xml"/><Relationship Id="rId8" Type="http://schemas.openxmlformats.org/officeDocument/2006/relationships/slideLayout" Target="../slideLayouts/slideLayout3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ags" Target="../tags/tag132.xml"/><Relationship Id="rId33" Type="http://schemas.openxmlformats.org/officeDocument/2006/relationships/tags" Target="../tags/tag140.xml"/><Relationship Id="rId38" Type="http://schemas.openxmlformats.org/officeDocument/2006/relationships/tags" Target="../tags/tag1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6"/>
            </p:custDataLst>
            <p:extLst>
              <p:ext uri="{D42A27DB-BD31-4B8C-83A1-F6EECF244321}">
                <p14:modId xmlns:p14="http://schemas.microsoft.com/office/powerpoint/2010/main" val="2002615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8"/>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9"/>
            </p:custDataLst>
          </p:nvPr>
        </p:nvSpPr>
        <p:spPr>
          <a:xfrm>
            <a:off x="554736" y="197613"/>
            <a:ext cx="11082528" cy="384721"/>
          </a:xfrm>
          <a:prstGeom prst="rect">
            <a:avLst/>
          </a:prstGeom>
        </p:spPr>
        <p:txBody>
          <a:bodyPr vert="horz" wrap="square" lIns="0" tIns="0" rIns="0" bIns="0" rtlCol="0" anchor="t" anchorCtr="0">
            <a:spAutoFit/>
          </a:bodyPr>
          <a:lstStyle/>
          <a:p>
            <a:pPr lvl="0"/>
            <a:r>
              <a:rPr lang="en-GB"/>
              <a:t>Click to edit Master title style</a:t>
            </a:r>
            <a:endParaRPr lang="en-US"/>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5238953"/>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20" r:id="rId23"/>
    <p:sldLayoutId id="2147483925" r:id="rId2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3008221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97613"/>
            <a:ext cx="11082528" cy="384721"/>
          </a:xfrm>
          <a:prstGeom prst="rect">
            <a:avLst/>
          </a:prstGeom>
        </p:spPr>
        <p:txBody>
          <a:bodyPr vert="horz" wrap="square" lIns="0" tIns="0" rIns="0" bIns="0" rtlCol="0" anchor="t" anchorCtr="0">
            <a:spAutoFit/>
          </a:bodyPr>
          <a:lstStyle/>
          <a:p>
            <a:pPr lvl="0"/>
            <a:r>
              <a:rPr lang="en-GB"/>
              <a:t>Click to edit Master title style</a:t>
            </a:r>
            <a:endParaRPr lang="en-US"/>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Rectangle 149">
            <a:extLst>
              <a:ext uri="{FF2B5EF4-FFF2-40B4-BE49-F238E27FC236}">
                <a16:creationId xmlns:a16="http://schemas.microsoft.com/office/drawing/2014/main" id="{4E2BE401-416B-A64E-B14A-26C166251906}"/>
              </a:ext>
            </a:extLst>
          </p:cNvPr>
          <p:cNvSpPr/>
          <p:nvPr userDrawn="1"/>
        </p:nvSpPr>
        <p:spPr>
          <a:xfrm>
            <a:off x="10560875" y="6584816"/>
            <a:ext cx="914400" cy="27318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Tree>
    <p:extLst>
      <p:ext uri="{BB962C8B-B14F-4D97-AF65-F5344CB8AC3E}">
        <p14:creationId xmlns:p14="http://schemas.microsoft.com/office/powerpoint/2010/main" val="441567705"/>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244.xml"/><Relationship Id="rId7" Type="http://schemas.openxmlformats.org/officeDocument/2006/relationships/notesSlide" Target="../notesSlides/notesSlide1.xml"/><Relationship Id="rId2" Type="http://schemas.openxmlformats.org/officeDocument/2006/relationships/tags" Target="../tags/tag243.xml"/><Relationship Id="rId1" Type="http://schemas.openxmlformats.org/officeDocument/2006/relationships/tags" Target="../tags/tag242.xml"/><Relationship Id="rId6" Type="http://schemas.openxmlformats.org/officeDocument/2006/relationships/slideLayout" Target="../slideLayouts/slideLayout1.xml"/><Relationship Id="rId5" Type="http://schemas.openxmlformats.org/officeDocument/2006/relationships/tags" Target="../tags/tag246.xml"/><Relationship Id="rId4" Type="http://schemas.openxmlformats.org/officeDocument/2006/relationships/tags" Target="../tags/tag245.xml"/><Relationship Id="rId9"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3.xml"/><Relationship Id="rId1" Type="http://schemas.openxmlformats.org/officeDocument/2006/relationships/tags" Target="../tags/tag255.xml"/><Relationship Id="rId4" Type="http://schemas.openxmlformats.org/officeDocument/2006/relationships/image" Target="../media/image12.bmp"/></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3.xml"/><Relationship Id="rId1" Type="http://schemas.openxmlformats.org/officeDocument/2006/relationships/tags" Target="../tags/tag256.xml"/><Relationship Id="rId4" Type="http://schemas.openxmlformats.org/officeDocument/2006/relationships/image" Target="../media/image13.bmp"/></Relationships>
</file>

<file path=ppt/slides/_rels/slide12.xml.rels><?xml version="1.0" encoding="UTF-8" standalone="yes"?>
<Relationships xmlns="http://schemas.openxmlformats.org/package/2006/relationships"><Relationship Id="rId3" Type="http://schemas.openxmlformats.org/officeDocument/2006/relationships/image" Target="../media/image14.bmp"/><Relationship Id="rId2" Type="http://schemas.openxmlformats.org/officeDocument/2006/relationships/slideLayout" Target="../slideLayouts/slideLayout23.xml"/><Relationship Id="rId1" Type="http://schemas.openxmlformats.org/officeDocument/2006/relationships/tags" Target="../tags/tag257.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5.xml"/><Relationship Id="rId1" Type="http://schemas.openxmlformats.org/officeDocument/2006/relationships/tags" Target="../tags/tag258.xm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3.xml"/><Relationship Id="rId1" Type="http://schemas.openxmlformats.org/officeDocument/2006/relationships/tags" Target="../tags/tag259.xml"/><Relationship Id="rId4" Type="http://schemas.openxmlformats.org/officeDocument/2006/relationships/image" Target="../media/image15.bmp"/></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3.xml"/><Relationship Id="rId1" Type="http://schemas.openxmlformats.org/officeDocument/2006/relationships/tags" Target="../tags/tag260.xml"/><Relationship Id="rId4" Type="http://schemas.openxmlformats.org/officeDocument/2006/relationships/image" Target="../media/image16.bmp"/></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3.xml"/><Relationship Id="rId1" Type="http://schemas.openxmlformats.org/officeDocument/2006/relationships/tags" Target="../tags/tag261.xml"/><Relationship Id="rId4" Type="http://schemas.openxmlformats.org/officeDocument/2006/relationships/image" Target="../media/image17.bmp"/></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3.xml"/><Relationship Id="rId1" Type="http://schemas.openxmlformats.org/officeDocument/2006/relationships/tags" Target="../tags/tag262.xml"/><Relationship Id="rId4" Type="http://schemas.openxmlformats.org/officeDocument/2006/relationships/image" Target="../media/image18.bmp"/></Relationships>
</file>

<file path=ppt/slides/_rels/slide18.xml.rels><?xml version="1.0" encoding="UTF-8" standalone="yes"?>
<Relationships xmlns="http://schemas.openxmlformats.org/package/2006/relationships"><Relationship Id="rId3" Type="http://schemas.openxmlformats.org/officeDocument/2006/relationships/image" Target="../media/image19.bmp"/><Relationship Id="rId2" Type="http://schemas.openxmlformats.org/officeDocument/2006/relationships/slideLayout" Target="../slideLayouts/slideLayout2.xml"/><Relationship Id="rId1" Type="http://schemas.openxmlformats.org/officeDocument/2006/relationships/tags" Target="../tags/tag263.xml"/></Relationships>
</file>

<file path=ppt/slides/_rels/slide19.xml.rels><?xml version="1.0" encoding="UTF-8" standalone="yes"?>
<Relationships xmlns="http://schemas.openxmlformats.org/package/2006/relationships"><Relationship Id="rId3" Type="http://schemas.openxmlformats.org/officeDocument/2006/relationships/image" Target="../media/image20.bmp"/><Relationship Id="rId2" Type="http://schemas.openxmlformats.org/officeDocument/2006/relationships/slideLayout" Target="../slideLayouts/slideLayout23.xml"/><Relationship Id="rId1" Type="http://schemas.openxmlformats.org/officeDocument/2006/relationships/tags" Target="../tags/tag26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247.xml"/><Relationship Id="rId6" Type="http://schemas.openxmlformats.org/officeDocument/2006/relationships/hyperlink" Target="mailto:rpanlilio@unicef.org" TargetMode="External"/><Relationship Id="rId5" Type="http://schemas.openxmlformats.org/officeDocument/2006/relationships/hyperlink" Target="https://worldhealthorg.sharepoint.com/:f:/r/sites/COVID19VaccineDeliveryFacility-DataAnalyticsandMonitoring/Shared%20Documents/Data,%20Analytics,%20and%20Monitoring/04%20External/Data%20%26%20Monitoring%20Coordination%20Group?csf=1&amp;web=1&amp;e=7ZpB7P" TargetMode="External"/><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3.xml"/><Relationship Id="rId1" Type="http://schemas.openxmlformats.org/officeDocument/2006/relationships/tags" Target="../tags/tag265.xml"/><Relationship Id="rId4" Type="http://schemas.openxmlformats.org/officeDocument/2006/relationships/image" Target="../media/image21.bmp"/></Relationships>
</file>

<file path=ppt/slides/_rels/slide21.xml.rels><?xml version="1.0" encoding="UTF-8" standalone="yes"?>
<Relationships xmlns="http://schemas.openxmlformats.org/package/2006/relationships"><Relationship Id="rId3" Type="http://schemas.openxmlformats.org/officeDocument/2006/relationships/image" Target="../media/image22.bmp"/><Relationship Id="rId2" Type="http://schemas.openxmlformats.org/officeDocument/2006/relationships/slideLayout" Target="../slideLayouts/slideLayout2.xml"/><Relationship Id="rId1" Type="http://schemas.openxmlformats.org/officeDocument/2006/relationships/tags" Target="../tags/tag266.xml"/></Relationships>
</file>

<file path=ppt/slides/_rels/slide22.xml.rels><?xml version="1.0" encoding="UTF-8" standalone="yes"?>
<Relationships xmlns="http://schemas.openxmlformats.org/package/2006/relationships"><Relationship Id="rId3" Type="http://schemas.openxmlformats.org/officeDocument/2006/relationships/image" Target="../media/image23.bmp"/><Relationship Id="rId2" Type="http://schemas.openxmlformats.org/officeDocument/2006/relationships/slideLayout" Target="../slideLayouts/slideLayout23.xml"/><Relationship Id="rId1" Type="http://schemas.openxmlformats.org/officeDocument/2006/relationships/tags" Target="../tags/tag267.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3.xml"/><Relationship Id="rId1" Type="http://schemas.openxmlformats.org/officeDocument/2006/relationships/tags" Target="../tags/tag268.xml"/><Relationship Id="rId4" Type="http://schemas.openxmlformats.org/officeDocument/2006/relationships/image" Target="../media/image24.bmp"/></Relationships>
</file>

<file path=ppt/slides/_rels/slide24.xml.rels><?xml version="1.0" encoding="UTF-8" standalone="yes"?>
<Relationships xmlns="http://schemas.openxmlformats.org/package/2006/relationships"><Relationship Id="rId3" Type="http://schemas.openxmlformats.org/officeDocument/2006/relationships/image" Target="../media/image25.bmp"/><Relationship Id="rId2" Type="http://schemas.openxmlformats.org/officeDocument/2006/relationships/slideLayout" Target="../slideLayouts/slideLayout23.xml"/><Relationship Id="rId1" Type="http://schemas.openxmlformats.org/officeDocument/2006/relationships/tags" Target="../tags/tag269.xml"/></Relationships>
</file>

<file path=ppt/slides/_rels/slide25.xml.rels><?xml version="1.0" encoding="UTF-8" standalone="yes"?>
<Relationships xmlns="http://schemas.openxmlformats.org/package/2006/relationships"><Relationship Id="rId3" Type="http://schemas.openxmlformats.org/officeDocument/2006/relationships/image" Target="../media/image26.bmp"/><Relationship Id="rId2" Type="http://schemas.openxmlformats.org/officeDocument/2006/relationships/slideLayout" Target="../slideLayouts/slideLayout23.xml"/><Relationship Id="rId1" Type="http://schemas.openxmlformats.org/officeDocument/2006/relationships/tags" Target="../tags/tag270.xml"/></Relationships>
</file>

<file path=ppt/slides/_rels/slide26.xml.rels><?xml version="1.0" encoding="UTF-8" standalone="yes"?>
<Relationships xmlns="http://schemas.openxmlformats.org/package/2006/relationships"><Relationship Id="rId3" Type="http://schemas.openxmlformats.org/officeDocument/2006/relationships/image" Target="../media/image27.bmp"/><Relationship Id="rId2" Type="http://schemas.openxmlformats.org/officeDocument/2006/relationships/slideLayout" Target="../slideLayouts/slideLayout23.xml"/><Relationship Id="rId1" Type="http://schemas.openxmlformats.org/officeDocument/2006/relationships/tags" Target="../tags/tag271.xml"/></Relationships>
</file>

<file path=ppt/slides/_rels/slide27.xml.rels><?xml version="1.0" encoding="UTF-8" standalone="yes"?>
<Relationships xmlns="http://schemas.openxmlformats.org/package/2006/relationships"><Relationship Id="rId3" Type="http://schemas.openxmlformats.org/officeDocument/2006/relationships/image" Target="../media/image28.bmp"/><Relationship Id="rId2" Type="http://schemas.openxmlformats.org/officeDocument/2006/relationships/slideLayout" Target="../slideLayouts/slideLayout23.xml"/><Relationship Id="rId1" Type="http://schemas.openxmlformats.org/officeDocument/2006/relationships/tags" Target="../tags/tag272.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5.xml"/><Relationship Id="rId1" Type="http://schemas.openxmlformats.org/officeDocument/2006/relationships/tags" Target="../tags/tag273.xml"/><Relationship Id="rId4" Type="http://schemas.openxmlformats.org/officeDocument/2006/relationships/image" Target="../media/image7.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3.xml"/><Relationship Id="rId1" Type="http://schemas.openxmlformats.org/officeDocument/2006/relationships/tags" Target="../tags/tag274.xml"/><Relationship Id="rId4" Type="http://schemas.openxmlformats.org/officeDocument/2006/relationships/image" Target="../media/image29.bmp"/></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7.xml"/><Relationship Id="rId1" Type="http://schemas.openxmlformats.org/officeDocument/2006/relationships/tags" Target="../tags/tag248.xml"/><Relationship Id="rId4" Type="http://schemas.openxmlformats.org/officeDocument/2006/relationships/image" Target="../media/image7.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3.xml"/><Relationship Id="rId1" Type="http://schemas.openxmlformats.org/officeDocument/2006/relationships/tags" Target="../tags/tag275.xml"/><Relationship Id="rId4" Type="http://schemas.openxmlformats.org/officeDocument/2006/relationships/image" Target="../media/image30.bmp"/></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3.xml"/><Relationship Id="rId1" Type="http://schemas.openxmlformats.org/officeDocument/2006/relationships/tags" Target="../tags/tag276.xml"/><Relationship Id="rId4" Type="http://schemas.openxmlformats.org/officeDocument/2006/relationships/image" Target="../media/image31.bmp"/></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3.xml"/><Relationship Id="rId1" Type="http://schemas.openxmlformats.org/officeDocument/2006/relationships/tags" Target="../tags/tag277.xml"/><Relationship Id="rId4" Type="http://schemas.openxmlformats.org/officeDocument/2006/relationships/image" Target="../media/image32.bmp"/></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5.xml"/><Relationship Id="rId1" Type="http://schemas.openxmlformats.org/officeDocument/2006/relationships/tags" Target="../tags/tag278.xml"/><Relationship Id="rId4" Type="http://schemas.openxmlformats.org/officeDocument/2006/relationships/image" Target="../media/image7.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3.xml"/><Relationship Id="rId1" Type="http://schemas.openxmlformats.org/officeDocument/2006/relationships/tags" Target="../tags/tag279.xml"/><Relationship Id="rId4" Type="http://schemas.openxmlformats.org/officeDocument/2006/relationships/image" Target="../media/image33.bmp"/></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3.xml"/><Relationship Id="rId1" Type="http://schemas.openxmlformats.org/officeDocument/2006/relationships/tags" Target="../tags/tag280.xml"/><Relationship Id="rId4" Type="http://schemas.openxmlformats.org/officeDocument/2006/relationships/image" Target="../media/image34.bmp"/></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3.xml"/><Relationship Id="rId1" Type="http://schemas.openxmlformats.org/officeDocument/2006/relationships/tags" Target="../tags/tag281.xml"/><Relationship Id="rId4" Type="http://schemas.openxmlformats.org/officeDocument/2006/relationships/image" Target="../media/image35.bmp"/></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3.xml"/><Relationship Id="rId1" Type="http://schemas.openxmlformats.org/officeDocument/2006/relationships/tags" Target="../tags/tag282.xml"/><Relationship Id="rId4" Type="http://schemas.openxmlformats.org/officeDocument/2006/relationships/image" Target="../media/image36.bmp"/></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3.xml"/><Relationship Id="rId1" Type="http://schemas.openxmlformats.org/officeDocument/2006/relationships/tags" Target="../tags/tag283.xml"/><Relationship Id="rId4" Type="http://schemas.openxmlformats.org/officeDocument/2006/relationships/image" Target="../media/image37.bmp"/></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3.xml"/><Relationship Id="rId1" Type="http://schemas.openxmlformats.org/officeDocument/2006/relationships/tags" Target="../tags/tag284.xml"/><Relationship Id="rId4" Type="http://schemas.openxmlformats.org/officeDocument/2006/relationships/image" Target="../media/image38.bmp"/></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5.xml"/><Relationship Id="rId1" Type="http://schemas.openxmlformats.org/officeDocument/2006/relationships/tags" Target="../tags/tag249.xml"/><Relationship Id="rId4" Type="http://schemas.openxmlformats.org/officeDocument/2006/relationships/image" Target="../media/image7.emf"/></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5.xml"/><Relationship Id="rId1" Type="http://schemas.openxmlformats.org/officeDocument/2006/relationships/tags" Target="../tags/tag285.xml"/><Relationship Id="rId5" Type="http://schemas.openxmlformats.org/officeDocument/2006/relationships/image" Target="../media/image7.emf"/><Relationship Id="rId4" Type="http://schemas.openxmlformats.org/officeDocument/2006/relationships/oleObject" Target="../embeddings/oleObject52.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3.xml"/><Relationship Id="rId1" Type="http://schemas.openxmlformats.org/officeDocument/2006/relationships/tags" Target="../tags/tag286.xml"/><Relationship Id="rId4" Type="http://schemas.openxmlformats.org/officeDocument/2006/relationships/image" Target="../media/image39.bmp"/></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3.xml"/><Relationship Id="rId1" Type="http://schemas.openxmlformats.org/officeDocument/2006/relationships/tags" Target="../tags/tag287.xml"/><Relationship Id="rId4" Type="http://schemas.openxmlformats.org/officeDocument/2006/relationships/image" Target="../media/image40.bmp"/></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3.xml"/><Relationship Id="rId1" Type="http://schemas.openxmlformats.org/officeDocument/2006/relationships/tags" Target="../tags/tag288.xml"/><Relationship Id="rId4" Type="http://schemas.openxmlformats.org/officeDocument/2006/relationships/image" Target="../media/image41.bmp"/></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5.xml"/><Relationship Id="rId1" Type="http://schemas.openxmlformats.org/officeDocument/2006/relationships/tags" Target="../tags/tag289.xml"/><Relationship Id="rId4" Type="http://schemas.openxmlformats.org/officeDocument/2006/relationships/image" Target="../media/image7.emf"/></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3.xml"/><Relationship Id="rId1" Type="http://schemas.openxmlformats.org/officeDocument/2006/relationships/tags" Target="../tags/tag290.xml"/><Relationship Id="rId4" Type="http://schemas.openxmlformats.org/officeDocument/2006/relationships/image" Target="../media/image42.bmp"/></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3.xml"/><Relationship Id="rId1" Type="http://schemas.openxmlformats.org/officeDocument/2006/relationships/tags" Target="../tags/tag291.xml"/><Relationship Id="rId4" Type="http://schemas.openxmlformats.org/officeDocument/2006/relationships/image" Target="../media/image43.bmp"/></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3.xml"/><Relationship Id="rId1" Type="http://schemas.openxmlformats.org/officeDocument/2006/relationships/tags" Target="../tags/tag292.xml"/><Relationship Id="rId4" Type="http://schemas.openxmlformats.org/officeDocument/2006/relationships/image" Target="../media/image44.bmp"/></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3.xml"/><Relationship Id="rId1" Type="http://schemas.openxmlformats.org/officeDocument/2006/relationships/tags" Target="../tags/tag293.xml"/><Relationship Id="rId4" Type="http://schemas.openxmlformats.org/officeDocument/2006/relationships/image" Target="../media/image45.bmp"/></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3.xml"/><Relationship Id="rId1" Type="http://schemas.openxmlformats.org/officeDocument/2006/relationships/tags" Target="../tags/tag294.xml"/><Relationship Id="rId4" Type="http://schemas.openxmlformats.org/officeDocument/2006/relationships/image" Target="../media/image46.bmp"/></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5.xml"/><Relationship Id="rId1" Type="http://schemas.openxmlformats.org/officeDocument/2006/relationships/tags" Target="../tags/tag250.xml"/><Relationship Id="rId4" Type="http://schemas.openxmlformats.org/officeDocument/2006/relationships/image" Target="../media/image7.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295.xml"/><Relationship Id="rId4" Type="http://schemas.openxmlformats.org/officeDocument/2006/relationships/image" Target="../media/image7.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296.xml"/><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image" Target="../media/image8.bmp"/><Relationship Id="rId2" Type="http://schemas.openxmlformats.org/officeDocument/2006/relationships/slideLayout" Target="../slideLayouts/slideLayout23.xml"/><Relationship Id="rId1" Type="http://schemas.openxmlformats.org/officeDocument/2006/relationships/tags" Target="../tags/tag25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3.xml"/><Relationship Id="rId1" Type="http://schemas.openxmlformats.org/officeDocument/2006/relationships/tags" Target="../tags/tag252.xml"/><Relationship Id="rId4" Type="http://schemas.openxmlformats.org/officeDocument/2006/relationships/image" Target="../media/image9.bmp"/></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3.xml"/><Relationship Id="rId1" Type="http://schemas.openxmlformats.org/officeDocument/2006/relationships/tags" Target="../tags/tag253.xml"/><Relationship Id="rId4" Type="http://schemas.openxmlformats.org/officeDocument/2006/relationships/image" Target="../media/image10.bmp"/></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3.xml"/><Relationship Id="rId1" Type="http://schemas.openxmlformats.org/officeDocument/2006/relationships/tags" Target="../tags/tag254.xml"/><Relationship Id="rId4" Type="http://schemas.openxmlformats.org/officeDocument/2006/relationships/image" Target="../media/image11.bm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B0E17E90-3C4E-4F37-9FA4-FC779C250872}"/>
              </a:ext>
            </a:extLst>
          </p:cNvPr>
          <p:cNvGraphicFramePr>
            <a:graphicFrameLocks noChangeAspect="1"/>
          </p:cNvGraphicFramePr>
          <p:nvPr>
            <p:custDataLst>
              <p:tags r:id="rId2"/>
            </p:custDataLst>
            <p:extLst>
              <p:ext uri="{D42A27DB-BD31-4B8C-83A1-F6EECF244321}">
                <p14:modId xmlns:p14="http://schemas.microsoft.com/office/powerpoint/2010/main" val="1357302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6" name="Object 6" hidden="1">
                        <a:extLst>
                          <a:ext uri="{FF2B5EF4-FFF2-40B4-BE49-F238E27FC236}">
                            <a16:creationId xmlns:a16="http://schemas.microsoft.com/office/drawing/2014/main" id="{B0E17E90-3C4E-4F37-9FA4-FC779C25087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EB9340E2-D95A-4545-81E1-3AD07AB3A01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 name="Subtitle">
            <a:extLst>
              <a:ext uri="{FF2B5EF4-FFF2-40B4-BE49-F238E27FC236}">
                <a16:creationId xmlns:a16="http://schemas.microsoft.com/office/drawing/2014/main" id="{9D165D28-4E2C-4E35-98E6-6B5023BBA057}"/>
              </a:ext>
            </a:extLst>
          </p:cNvPr>
          <p:cNvSpPr>
            <a:spLocks noGrp="1"/>
          </p:cNvSpPr>
          <p:nvPr>
            <p:ph type="subTitle" idx="1"/>
            <p:custDataLst>
              <p:tags r:id="rId4"/>
            </p:custDataLst>
          </p:nvPr>
        </p:nvSpPr>
        <p:spPr>
          <a:xfrm>
            <a:off x="1232602" y="5723246"/>
            <a:ext cx="9726795" cy="307777"/>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i="1" dirty="0">
                <a:cs typeface="Arial"/>
              </a:rPr>
              <a:t>2 September 2022</a:t>
            </a:r>
          </a:p>
        </p:txBody>
      </p:sp>
      <p:sp>
        <p:nvSpPr>
          <p:cNvPr id="4" name="Title">
            <a:extLst>
              <a:ext uri="{FF2B5EF4-FFF2-40B4-BE49-F238E27FC236}">
                <a16:creationId xmlns:a16="http://schemas.microsoft.com/office/drawing/2014/main" id="{806FD97B-691F-4513-92F7-37A1FAC29B8E}"/>
              </a:ext>
            </a:extLst>
          </p:cNvPr>
          <p:cNvSpPr>
            <a:spLocks noGrp="1"/>
          </p:cNvSpPr>
          <p:nvPr>
            <p:ph type="title"/>
            <p:custDataLst>
              <p:tags r:id="rId5"/>
            </p:custDataLst>
          </p:nvPr>
        </p:nvSpPr>
        <p:spPr>
          <a:xfrm>
            <a:off x="1232602" y="1726163"/>
            <a:ext cx="9726795" cy="2400657"/>
          </a:xfrm>
          <a:noFill/>
          <a:ln/>
          <a:extLst>
            <a:ext uri="{909E8E84-426E-40DD-AFC4-6F175D3DCCD1}">
              <a14:hiddenFill xmlns:a14="http://schemas.microsoft.com/office/drawing/2010/main">
                <a:solidFill>
                  <a:srgbClr val="FFFFFF"/>
                </a:solidFill>
              </a14:hiddenFill>
            </a:ext>
          </a:extLst>
        </p:spPr>
        <p:txBody>
          <a:bodyPr vert="horz" wrap="square" anchor="ctr" anchorCtr="0">
            <a:spAutoFit/>
          </a:bodyPr>
          <a:lstStyle/>
          <a:p>
            <a:r>
              <a:rPr lang="en-US">
                <a:cs typeface="Arial"/>
              </a:rPr>
              <a:t>COVID-19 Vaccine Implementation Analysis &amp; Insights</a:t>
            </a:r>
            <a:br>
              <a:rPr lang="en-US" u="sng">
                <a:cs typeface="Arial"/>
              </a:rPr>
            </a:br>
            <a:br>
              <a:rPr lang="en-US" u="sng"/>
            </a:br>
            <a:r>
              <a:rPr lang="en-US" sz="2400">
                <a:solidFill>
                  <a:srgbClr val="A7A7A7"/>
                </a:solidFill>
              </a:rPr>
              <a:t>COVID-19 Vaccine Delivery Partnership</a:t>
            </a:r>
            <a:endParaRPr lang="en-US">
              <a:cs typeface="Arial"/>
            </a:endParaRPr>
          </a:p>
        </p:txBody>
      </p:sp>
    </p:spTree>
    <p:custDataLst>
      <p:tags r:id="rId1"/>
    </p:custDataLst>
    <p:extLst>
      <p:ext uri="{BB962C8B-B14F-4D97-AF65-F5344CB8AC3E}">
        <p14:creationId xmlns:p14="http://schemas.microsoft.com/office/powerpoint/2010/main" val="12581446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42FF386-0EAC-4D9C-B88C-9D6D13E07859}"/>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4C7904E4-49DE-49E6-A47A-5F2A3C3E41D4}"/>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FF68CC7A-582F-48CA-BEA3-A1FF2496EC3D}"/>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C081A5AF-90FD-12B5-C91E-D6951C650CDE}"/>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10690065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1E00F71-659A-4A9B-8B20-AB63113344EC}"/>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D05545CD-8C73-4227-9DBB-8515A7BF6290}"/>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A0DD7FE0-6CDD-4688-B792-82B5AF9BB1C6}"/>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802ACA3F-C5D4-3870-1258-409ADB96A1D9}"/>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872119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98BF0A3-033E-4056-9181-0FDB3EACE0C2}"/>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D0AEF8B9-2288-472A-8F6E-D449E7F88442}"/>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F694E896-8EB6-47FA-9F55-8E17BBE7ED82}"/>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810554E5-BEB0-3849-AE1D-D7B3B894FA51}"/>
              </a:ext>
            </a:extLst>
          </p:cNvPr>
          <p:cNvPicPr>
            <a:picLocks noChangeAspect="1"/>
          </p:cNvPicPr>
          <p:nvPr>
            <p:custDataLst>
              <p:tags r:id="rId1"/>
            </p:custDataLst>
          </p:nvPr>
        </p:nvPicPr>
        <p:blipFill>
          <a:blip r:embed="rId3"/>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23104095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25B4DE-A4BD-44EA-97A9-40821E3FE3D8}"/>
              </a:ext>
            </a:extLst>
          </p:cNvPr>
          <p:cNvGraphicFramePr>
            <a:graphicFrameLocks noChangeAspect="1"/>
          </p:cNvGraphicFramePr>
          <p:nvPr>
            <p:custDataLst>
              <p:tags r:id="rId1"/>
            </p:custDataLst>
            <p:extLst>
              <p:ext uri="{D42A27DB-BD31-4B8C-83A1-F6EECF244321}">
                <p14:modId xmlns:p14="http://schemas.microsoft.com/office/powerpoint/2010/main" val="1925275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6D25B4DE-A4BD-44EA-97A9-40821E3FE3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926555-EE26-4B68-9091-62C31ADD4B0D}"/>
              </a:ext>
            </a:extLst>
          </p:cNvPr>
          <p:cNvSpPr>
            <a:spLocks noGrp="1"/>
          </p:cNvSpPr>
          <p:nvPr>
            <p:ph type="title"/>
          </p:nvPr>
        </p:nvSpPr>
        <p:spPr/>
        <p:txBody>
          <a:bodyPr vert="horz"/>
          <a:lstStyle/>
          <a:p>
            <a:r>
              <a:rPr lang="en-GB"/>
              <a:t>b. Population coverage</a:t>
            </a:r>
          </a:p>
        </p:txBody>
      </p:sp>
    </p:spTree>
    <p:extLst>
      <p:ext uri="{BB962C8B-B14F-4D97-AF65-F5344CB8AC3E}">
        <p14:creationId xmlns:p14="http://schemas.microsoft.com/office/powerpoint/2010/main" val="13073027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26FBCE1-0ADB-422D-A36E-A937FCCC49CE}"/>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5B9E052C-3961-4ED9-B3CE-84E1F7DB9B65}"/>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B74C06BC-5C7B-4082-A844-153CE018D64A}"/>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FB11977E-2651-90EB-C095-0ABA66083847}"/>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39951488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12BDCF-41A7-4B17-9639-1839127A22B9}"/>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7A19A107-EF5D-47FD-A7DD-C389C4CE2FDE}"/>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939A8EEA-10E1-4A8B-ADA0-6FE4DDEF51CA}"/>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943533F7-96D4-49A1-5436-74F836DB6623}"/>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19199673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5C35A24-204B-4F17-A2D6-5C5C3ABC94E2}"/>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80486632-0296-48A6-BDF0-469D32172FBC}"/>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CD4C208E-DBEB-404F-B30D-9798E9D5FB24}"/>
              </a:ext>
            </a:extLst>
          </p:cNvPr>
          <p:cNvSpPr>
            <a:spLocks noGrp="1"/>
          </p:cNvSpPr>
          <p:nvPr>
            <p:ph type="title"/>
          </p:nvPr>
        </p:nvSpPr>
        <p:spPr/>
        <p:txBody>
          <a:bodyPr/>
          <a:lstStyle/>
          <a:p>
            <a:endParaRPr lang="en-GB"/>
          </a:p>
        </p:txBody>
      </p:sp>
      <p:pic>
        <p:nvPicPr>
          <p:cNvPr id="9" name="Picture 8" title="CoVDP_IAI report_amc">
            <a:extLst>
              <a:ext uri="{FF2B5EF4-FFF2-40B4-BE49-F238E27FC236}">
                <a16:creationId xmlns:a16="http://schemas.microsoft.com/office/drawing/2014/main" id="{62AC59EE-D203-4792-93D8-2A724D57B67D}"/>
              </a:ext>
            </a:extLst>
          </p:cNvPr>
          <p:cNvPicPr>
            <a:picLocks noChangeAspect="1"/>
          </p:cNvPicPr>
          <p:nvPr>
            <p:custDataLst>
              <p:tags r:id="rId1"/>
            </p:custDataLst>
          </p:nvPr>
        </p:nvPicPr>
        <p:blipFill>
          <a:blip r:embed="rId4"/>
          <a:srcRect/>
          <a:stretch>
            <a:fillRect/>
          </a:stretch>
        </p:blipFill>
        <p:spPr>
          <a:xfrm>
            <a:off x="0" y="0"/>
            <a:ext cx="12191999" cy="6858000"/>
          </a:xfrm>
          <a:prstGeom prst="rect">
            <a:avLst/>
          </a:prstGeom>
        </p:spPr>
      </p:pic>
    </p:spTree>
    <p:extLst>
      <p:ext uri="{BB962C8B-B14F-4D97-AF65-F5344CB8AC3E}">
        <p14:creationId xmlns:p14="http://schemas.microsoft.com/office/powerpoint/2010/main" val="16768555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CB0DB0-0EF0-45CE-B29C-61F8C04C83BF}"/>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C873E0CF-6273-4E72-8D2D-9F410BD90130}"/>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B62A1359-3195-4D47-9524-39B668C2FA3A}"/>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21FD6F86-D20F-AB15-B427-08D58AED6221}"/>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24121171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B1999-A010-E0A8-5B3C-75116DEFD364}"/>
              </a:ext>
            </a:extLst>
          </p:cNvPr>
          <p:cNvSpPr>
            <a:spLocks noGrp="1"/>
          </p:cNvSpPr>
          <p:nvPr>
            <p:ph type="title"/>
          </p:nvPr>
        </p:nvSpPr>
        <p:spPr/>
        <p:txBody>
          <a:bodyPr/>
          <a:lstStyle/>
          <a:p>
            <a:endParaRPr lang="en-GB"/>
          </a:p>
        </p:txBody>
      </p:sp>
      <p:sp>
        <p:nvSpPr>
          <p:cNvPr id="3" name="Subtitle 2">
            <a:extLst>
              <a:ext uri="{FF2B5EF4-FFF2-40B4-BE49-F238E27FC236}">
                <a16:creationId xmlns:a16="http://schemas.microsoft.com/office/drawing/2014/main" id="{9E3BB79E-F4EF-2775-9D6C-A6722FA4A3E6}"/>
              </a:ext>
            </a:extLst>
          </p:cNvPr>
          <p:cNvSpPr>
            <a:spLocks noGrp="1"/>
          </p:cNvSpPr>
          <p:nvPr>
            <p:ph type="subTitle" idx="1"/>
          </p:nvPr>
        </p:nvSpPr>
        <p:spPr/>
        <p:txBody>
          <a:bodyPr/>
          <a:lstStyle/>
          <a:p>
            <a:endParaRPr lang="en-GB"/>
          </a:p>
        </p:txBody>
      </p:sp>
      <p:sp>
        <p:nvSpPr>
          <p:cNvPr id="4" name="Text Placeholder 3">
            <a:extLst>
              <a:ext uri="{FF2B5EF4-FFF2-40B4-BE49-F238E27FC236}">
                <a16:creationId xmlns:a16="http://schemas.microsoft.com/office/drawing/2014/main" id="{CC5A0663-DE57-C6CD-7A80-E93DB7024102}"/>
              </a:ext>
            </a:extLst>
          </p:cNvPr>
          <p:cNvSpPr>
            <a:spLocks noGrp="1"/>
          </p:cNvSpPr>
          <p:nvPr>
            <p:ph type="body" sz="quarter" idx="10"/>
          </p:nvPr>
        </p:nvSpPr>
        <p:spPr/>
        <p:txBody>
          <a:bodyPr/>
          <a:lstStyle/>
          <a:p>
            <a:endParaRPr lang="en-GB"/>
          </a:p>
        </p:txBody>
      </p:sp>
      <p:pic>
        <p:nvPicPr>
          <p:cNvPr id="7" name="Picture 6" title="CoVDP_IAI report_amc">
            <a:extLst>
              <a:ext uri="{FF2B5EF4-FFF2-40B4-BE49-F238E27FC236}">
                <a16:creationId xmlns:a16="http://schemas.microsoft.com/office/drawing/2014/main" id="{D0998D7F-8458-E76B-46E4-A477A53283C3}"/>
              </a:ext>
            </a:extLst>
          </p:cNvPr>
          <p:cNvPicPr>
            <a:picLocks noChangeAspect="1"/>
          </p:cNvPicPr>
          <p:nvPr>
            <p:custDataLst>
              <p:tags r:id="rId1"/>
            </p:custDataLst>
          </p:nvPr>
        </p:nvPicPr>
        <p:blipFill>
          <a:blip r:embed="rId3"/>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15860281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CC6BE1-E702-BD11-CBE4-3032B7E9DA83}"/>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CB19BBDB-8A79-8204-7EBF-1A8929A93B5C}"/>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E4E1493D-3175-35A9-11CE-DE1F530AB739}"/>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AC314414-EBF9-9C36-DFB3-3150A18B2603}"/>
              </a:ext>
            </a:extLst>
          </p:cNvPr>
          <p:cNvPicPr>
            <a:picLocks noChangeAspect="1"/>
          </p:cNvPicPr>
          <p:nvPr>
            <p:custDataLst>
              <p:tags r:id="rId1"/>
            </p:custDataLst>
          </p:nvPr>
        </p:nvPicPr>
        <p:blipFill>
          <a:blip r:embed="rId3"/>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30281770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5AFFEC-E323-4E4A-A5B1-C5FF1EF412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6" name="Object 5" hidden="1">
                        <a:extLst>
                          <a:ext uri="{FF2B5EF4-FFF2-40B4-BE49-F238E27FC236}">
                            <a16:creationId xmlns:a16="http://schemas.microsoft.com/office/drawing/2014/main" id="{E55AFFEC-E323-4E4A-A5B1-C5FF1EF412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5128F6-B050-450F-B92E-C95727C82DE6}"/>
              </a:ext>
            </a:extLst>
          </p:cNvPr>
          <p:cNvSpPr>
            <a:spLocks noGrp="1"/>
          </p:cNvSpPr>
          <p:nvPr>
            <p:ph type="title"/>
          </p:nvPr>
        </p:nvSpPr>
        <p:spPr>
          <a:xfrm>
            <a:off x="554736" y="197613"/>
            <a:ext cx="11082528" cy="369332"/>
          </a:xfrm>
        </p:spPr>
        <p:txBody>
          <a:bodyPr vert="horz"/>
          <a:lstStyle/>
          <a:p>
            <a:r>
              <a:rPr lang="en-GB" sz="2400"/>
              <a:t>Notes &amp; disclaimer</a:t>
            </a:r>
          </a:p>
        </p:txBody>
      </p:sp>
      <p:graphicFrame>
        <p:nvGraphicFramePr>
          <p:cNvPr id="11" name="Table 11">
            <a:extLst>
              <a:ext uri="{FF2B5EF4-FFF2-40B4-BE49-F238E27FC236}">
                <a16:creationId xmlns:a16="http://schemas.microsoft.com/office/drawing/2014/main" id="{49FEEAAB-5895-41FA-915D-C4D32131B76A}"/>
              </a:ext>
            </a:extLst>
          </p:cNvPr>
          <p:cNvGraphicFramePr>
            <a:graphicFrameLocks noGrp="1"/>
          </p:cNvGraphicFramePr>
          <p:nvPr>
            <p:extLst>
              <p:ext uri="{D42A27DB-BD31-4B8C-83A1-F6EECF244321}">
                <p14:modId xmlns:p14="http://schemas.microsoft.com/office/powerpoint/2010/main" val="799459977"/>
              </p:ext>
            </p:extLst>
          </p:nvPr>
        </p:nvGraphicFramePr>
        <p:xfrm>
          <a:off x="554737" y="964215"/>
          <a:ext cx="11082527" cy="5143320"/>
        </p:xfrm>
        <a:graphic>
          <a:graphicData uri="http://schemas.openxmlformats.org/drawingml/2006/table">
            <a:tbl>
              <a:tblPr firstRow="1" bandRow="1">
                <a:tableStyleId>{2D5ABB26-0587-4C30-8999-92F81FD0307C}</a:tableStyleId>
              </a:tblPr>
              <a:tblGrid>
                <a:gridCol w="1798200">
                  <a:extLst>
                    <a:ext uri="{9D8B030D-6E8A-4147-A177-3AD203B41FA5}">
                      <a16:colId xmlns:a16="http://schemas.microsoft.com/office/drawing/2014/main" val="3652347298"/>
                    </a:ext>
                  </a:extLst>
                </a:gridCol>
                <a:gridCol w="9284327">
                  <a:extLst>
                    <a:ext uri="{9D8B030D-6E8A-4147-A177-3AD203B41FA5}">
                      <a16:colId xmlns:a16="http://schemas.microsoft.com/office/drawing/2014/main" val="1733877350"/>
                    </a:ext>
                  </a:extLst>
                </a:gridCol>
              </a:tblGrid>
              <a:tr h="370840">
                <a:tc>
                  <a:txBody>
                    <a:bodyPr/>
                    <a:lstStyle/>
                    <a:p>
                      <a:r>
                        <a:rPr lang="en-GB" sz="1200" b="1" u="sng"/>
                        <a:t>Description:</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a:solidFill>
                            <a:schemeClr val="tx1"/>
                          </a:solidFill>
                          <a:effectLst/>
                          <a:latin typeface="+mn-lt"/>
                          <a:ea typeface="+mn-ea"/>
                          <a:cs typeface="+mn-cs"/>
                        </a:rPr>
                        <a:t>A standard analytic report produced by the COVID-19 Vaccine Delivery Partnership (CoVDP) of key COVID-19 vaccine implementation data, including 1) daily vaccination rate, 2) population coverage, 3) supply secured &amp; received, and 4) product utilization data, for across COVAX AMC portfolio and CoVDP's Countries for Concerted Support</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7669411"/>
                  </a:ext>
                </a:extLst>
              </a:tr>
              <a:tr h="370840">
                <a:tc>
                  <a:txBody>
                    <a:bodyPr/>
                    <a:lstStyle/>
                    <a:p>
                      <a:r>
                        <a:rPr lang="en-GB" sz="1200" b="1" u="sng"/>
                        <a:t>Data inputs:</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b="0" i="0" kern="1200">
                          <a:solidFill>
                            <a:schemeClr val="tx1"/>
                          </a:solidFill>
                          <a:effectLst/>
                          <a:latin typeface="+mn-lt"/>
                          <a:ea typeface="+mn-ea"/>
                          <a:cs typeface="+mn-cs"/>
                        </a:rPr>
                        <a:t>COVAX/CoVDP Demand &amp; Supply Planning Mechanism data (Country coverage targets)</a:t>
                      </a:r>
                    </a:p>
                    <a:p>
                      <a:pPr marL="171450" indent="-171450">
                        <a:buFont typeface="Arial" panose="020B0604020202020204" pitchFamily="34" charset="0"/>
                        <a:buChar char="•"/>
                      </a:pPr>
                      <a:r>
                        <a:rPr lang="en-US" sz="1100" b="0" i="0" kern="1200">
                          <a:solidFill>
                            <a:schemeClr val="tx1"/>
                          </a:solidFill>
                          <a:effectLst/>
                          <a:latin typeface="+mn-lt"/>
                          <a:ea typeface="+mn-ea"/>
                          <a:cs typeface="+mn-cs"/>
                        </a:rPr>
                        <a:t>IMF-WHO COVID-19 Vaccine Supply Tracker (Secured vaccine courses [millions of courses])</a:t>
                      </a:r>
                    </a:p>
                    <a:p>
                      <a:pPr marL="171450" indent="-171450">
                        <a:buFont typeface="Arial" panose="020B0604020202020204" pitchFamily="34" charset="0"/>
                        <a:buChar char="•"/>
                      </a:pPr>
                      <a:r>
                        <a:rPr lang="en-US" sz="1100" b="0" i="0" kern="1200">
                          <a:solidFill>
                            <a:schemeClr val="tx1"/>
                          </a:solidFill>
                          <a:effectLst/>
                          <a:latin typeface="+mn-lt"/>
                          <a:ea typeface="+mn-ea"/>
                          <a:cs typeface="+mn-cs"/>
                        </a:rPr>
                        <a:t>UN DESA Population Division Population Data (Total population; 12+ population; 18+ population; 60+ population)</a:t>
                      </a:r>
                    </a:p>
                    <a:p>
                      <a:pPr marL="171450" indent="-171450">
                        <a:buFont typeface="Arial" panose="020B0604020202020204" pitchFamily="34" charset="0"/>
                        <a:buChar char="•"/>
                      </a:pPr>
                      <a:r>
                        <a:rPr lang="en-US" sz="1100" b="0" i="0" kern="1200">
                          <a:solidFill>
                            <a:schemeClr val="tx1"/>
                          </a:solidFill>
                          <a:effectLst/>
                          <a:latin typeface="+mn-lt"/>
                          <a:ea typeface="+mn-ea"/>
                          <a:cs typeface="+mn-cs"/>
                        </a:rPr>
                        <a:t>UNICEF COVID-19 Vaccine Financial Monitoring Database (Total allocated external financing for vaccine delivery)</a:t>
                      </a:r>
                    </a:p>
                    <a:p>
                      <a:pPr marL="171450" indent="-171450">
                        <a:buFont typeface="Arial" panose="020B0604020202020204" pitchFamily="34" charset="0"/>
                        <a:buChar char="•"/>
                      </a:pPr>
                      <a:r>
                        <a:rPr lang="en-US" sz="1100" b="0" i="0" kern="1200">
                          <a:solidFill>
                            <a:schemeClr val="tx1"/>
                          </a:solidFill>
                          <a:effectLst/>
                          <a:latin typeface="+mn-lt"/>
                          <a:ea typeface="+mn-ea"/>
                          <a:cs typeface="+mn-cs"/>
                        </a:rPr>
                        <a:t>UNICEF COVID-19 Vaccine Market Dashboard Data (Total COVID-19 vaccine doses delivered [all sources])</a:t>
                      </a:r>
                    </a:p>
                    <a:p>
                      <a:pPr marL="171450" indent="-171450">
                        <a:buFont typeface="Arial" panose="020B0604020202020204" pitchFamily="34" charset="0"/>
                        <a:buChar char="•"/>
                      </a:pPr>
                      <a:r>
                        <a:rPr lang="en-US" sz="1100" b="0" i="0" kern="1200">
                          <a:solidFill>
                            <a:schemeClr val="tx1"/>
                          </a:solidFill>
                          <a:effectLst/>
                          <a:latin typeface="+mn-lt"/>
                          <a:ea typeface="+mn-ea"/>
                          <a:cs typeface="+mn-cs"/>
                        </a:rPr>
                        <a:t>WHO/UNICEF electronic Joint Reporting Form (eJRF) (Uptake in healthcare worker and 60+ populations, gender-disaggregated uptake) </a:t>
                      </a:r>
                    </a:p>
                    <a:p>
                      <a:pPr marL="171450" indent="-171450">
                        <a:buFont typeface="Arial" panose="020B0604020202020204" pitchFamily="34" charset="0"/>
                        <a:buChar char="•"/>
                      </a:pPr>
                      <a:r>
                        <a:rPr lang="en-US" sz="1100" b="0" i="0" kern="1200">
                          <a:solidFill>
                            <a:schemeClr val="tx1"/>
                          </a:solidFill>
                          <a:effectLst/>
                          <a:latin typeface="+mn-lt"/>
                          <a:ea typeface="+mn-ea"/>
                          <a:cs typeface="+mn-cs"/>
                        </a:rPr>
                        <a:t>WHO COVID-19 Vaccine Administration Data System (Total doses administered; Individuals with at least one dose; Individuals fully vaccinated)</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40277949"/>
                  </a:ext>
                </a:extLst>
              </a:tr>
              <a:tr h="370840">
                <a:tc>
                  <a:txBody>
                    <a:bodyPr/>
                    <a:lstStyle/>
                    <a:p>
                      <a:r>
                        <a:rPr lang="en-GB" sz="1200" b="1" u="sng"/>
                        <a:t>Methodology:</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a:solidFill>
                            <a:schemeClr val="tx1"/>
                          </a:solidFill>
                          <a:effectLst/>
                          <a:latin typeface="+mn-lt"/>
                          <a:ea typeface="+mn-ea"/>
                          <a:cs typeface="+mn-cs"/>
                        </a:rPr>
                        <a:t>Methods for analyses presented in this report are contained in the COVID-19 Vaccine Delivery Partnership Data &amp; Monitoring Coordination Manual (</a:t>
                      </a:r>
                      <a:r>
                        <a:rPr lang="en-US" sz="1100" b="0" i="0" u="sng" kern="1200">
                          <a:solidFill>
                            <a:schemeClr val="tx1"/>
                          </a:solidFill>
                          <a:effectLst/>
                          <a:latin typeface="+mn-lt"/>
                          <a:ea typeface="+mn-ea"/>
                          <a:cs typeface="+mn-cs"/>
                          <a:hlinkClick r:id="rId5"/>
                        </a:rPr>
                        <a:t>link</a:t>
                      </a:r>
                      <a:r>
                        <a:rPr lang="en-US" sz="1100" b="0" i="0" kern="1200">
                          <a:solidFill>
                            <a:schemeClr val="tx1"/>
                          </a:solidFill>
                          <a:effectLst/>
                          <a:latin typeface="+mn-lt"/>
                          <a:ea typeface="+mn-ea"/>
                          <a:cs typeface="+mn-cs"/>
                        </a:rPr>
                        <a:t>)</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5364923"/>
                  </a:ext>
                </a:extLst>
              </a:tr>
              <a:tr h="370840">
                <a:tc>
                  <a:txBody>
                    <a:bodyPr/>
                    <a:lstStyle/>
                    <a:p>
                      <a:r>
                        <a:rPr lang="en-GB" sz="1200" b="1" u="sng"/>
                        <a:t>Inquiries:</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a:solidFill>
                            <a:schemeClr val="tx1"/>
                          </a:solidFill>
                          <a:effectLst/>
                          <a:latin typeface="+mn-lt"/>
                          <a:ea typeface="+mn-ea"/>
                          <a:cs typeface="+mn-cs"/>
                        </a:rPr>
                        <a:t>Please contact Rafael PANLILIO (</a:t>
                      </a:r>
                      <a:r>
                        <a:rPr lang="en-US" sz="1100" b="0" i="0" kern="1200">
                          <a:solidFill>
                            <a:schemeClr val="tx1"/>
                          </a:solidFill>
                          <a:effectLst/>
                          <a:latin typeface="+mn-lt"/>
                          <a:ea typeface="+mn-ea"/>
                          <a:cs typeface="+mn-cs"/>
                          <a:hlinkClick r:id="rId6"/>
                        </a:rPr>
                        <a:t>rpanlilio@unicef.org</a:t>
                      </a:r>
                      <a:r>
                        <a:rPr lang="en-US" sz="1100" b="0" i="0" kern="1200">
                          <a:solidFill>
                            <a:schemeClr val="tx1"/>
                          </a:solidFill>
                          <a:effectLst/>
                          <a:latin typeface="+mn-lt"/>
                          <a:ea typeface="+mn-ea"/>
                          <a:cs typeface="+mn-cs"/>
                        </a:rPr>
                        <a:t>)</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0159672"/>
                  </a:ext>
                </a:extLst>
              </a:tr>
              <a:tr h="370840">
                <a:tc>
                  <a:txBody>
                    <a:bodyPr/>
                    <a:lstStyle/>
                    <a:p>
                      <a:r>
                        <a:rPr lang="en-GB" sz="1200" b="1" u="sng"/>
                        <a:t>Disclaimer:</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b="0" i="0" kern="1200">
                          <a:solidFill>
                            <a:schemeClr val="tx1"/>
                          </a:solidFill>
                          <a:effectLst/>
                          <a:latin typeface="+mn-lt"/>
                          <a:ea typeface="+mn-ea"/>
                          <a:cs typeface="+mn-cs"/>
                        </a:rPr>
                        <a:t>The data found in this report have been produced and processed from sources believed to be reliable.  While these data and analyses are provided in good faith and to the best of the COVID-19 Vaccine Delivery Partnership’s (the "Partnership") knowledge, The Partnership does not commit to it being up to date.  While every effort is made to ensure the data quality, the data and analyses are provided “as is.”  The burden of fitness of the data and analyses lies completely with the user. The accuracy of any user’s statistical analysis and any reported findings are not the responsibility of the Partnership.  The Partnership does not make any warranty, express or implied, including warranties of fitness for a particular purpose, or assume any legal liability or responsibility for the accuracy, completeness, reliability, or usefulness of any information provided (either isolated or in the aggregate), or represent that its use would not infringe privately owned rights.</a:t>
                      </a:r>
                    </a:p>
                    <a:p>
                      <a:pPr marL="171450" indent="-171450">
                        <a:buFont typeface="Arial" panose="020B0604020202020204" pitchFamily="34" charset="0"/>
                        <a:buChar char="•"/>
                      </a:pPr>
                      <a:endParaRPr lang="en-US" sz="1100" b="0" i="0" kern="1200">
                        <a:solidFill>
                          <a:schemeClr val="tx1"/>
                        </a:solidFill>
                        <a:effectLst/>
                        <a:latin typeface="+mn-lt"/>
                        <a:ea typeface="+mn-ea"/>
                        <a:cs typeface="+mn-cs"/>
                      </a:endParaRPr>
                    </a:p>
                    <a:p>
                      <a:pPr marL="180975" indent="0">
                        <a:buFont typeface="Arial" panose="020B0604020202020204" pitchFamily="34" charset="0"/>
                        <a:buNone/>
                      </a:pPr>
                      <a:r>
                        <a:rPr lang="en-US" sz="1100" b="0" i="0" kern="1200">
                          <a:solidFill>
                            <a:schemeClr val="tx1"/>
                          </a:solidFill>
                          <a:effectLst/>
                          <a:latin typeface="+mn-lt"/>
                          <a:ea typeface="+mn-ea"/>
                          <a:cs typeface="+mn-cs"/>
                        </a:rPr>
                        <a:t>Maps in this report do not reflect a position by the Partnership on the legal status of any country or territory or the delimitation of any frontiers.  </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3613053"/>
                  </a:ext>
                </a:extLst>
              </a:tr>
            </a:tbl>
          </a:graphicData>
        </a:graphic>
      </p:graphicFrame>
    </p:spTree>
    <p:extLst>
      <p:ext uri="{BB962C8B-B14F-4D97-AF65-F5344CB8AC3E}">
        <p14:creationId xmlns:p14="http://schemas.microsoft.com/office/powerpoint/2010/main" val="8200528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E41E5D-8A1D-45C6-A72C-6324D9AA5D81}"/>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BBE03989-52C7-4992-A283-E3A79C4A7FEC}"/>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1A0F42AB-E02A-4064-B34F-36B1DB71E3D9}"/>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2D517CCB-75C4-55EF-CBD2-4916F3AF584F}"/>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8450641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5742D-CEF4-2BF0-3BEF-54D76B5DFA58}"/>
              </a:ext>
            </a:extLst>
          </p:cNvPr>
          <p:cNvSpPr>
            <a:spLocks noGrp="1"/>
          </p:cNvSpPr>
          <p:nvPr>
            <p:ph type="title"/>
          </p:nvPr>
        </p:nvSpPr>
        <p:spPr/>
        <p:txBody>
          <a:bodyPr/>
          <a:lstStyle/>
          <a:p>
            <a:endParaRPr lang="en-GB"/>
          </a:p>
        </p:txBody>
      </p:sp>
      <p:sp>
        <p:nvSpPr>
          <p:cNvPr id="3" name="Subtitle 2">
            <a:extLst>
              <a:ext uri="{FF2B5EF4-FFF2-40B4-BE49-F238E27FC236}">
                <a16:creationId xmlns:a16="http://schemas.microsoft.com/office/drawing/2014/main" id="{23947861-AFEC-E945-1A2D-7CC2839E7FBB}"/>
              </a:ext>
            </a:extLst>
          </p:cNvPr>
          <p:cNvSpPr>
            <a:spLocks noGrp="1"/>
          </p:cNvSpPr>
          <p:nvPr>
            <p:ph type="subTitle" idx="1"/>
          </p:nvPr>
        </p:nvSpPr>
        <p:spPr/>
        <p:txBody>
          <a:bodyPr/>
          <a:lstStyle/>
          <a:p>
            <a:endParaRPr lang="en-GB"/>
          </a:p>
        </p:txBody>
      </p:sp>
      <p:sp>
        <p:nvSpPr>
          <p:cNvPr id="4" name="Text Placeholder 3">
            <a:extLst>
              <a:ext uri="{FF2B5EF4-FFF2-40B4-BE49-F238E27FC236}">
                <a16:creationId xmlns:a16="http://schemas.microsoft.com/office/drawing/2014/main" id="{500A7CE6-8E2F-7327-C61F-3A2A0FEFC79C}"/>
              </a:ext>
            </a:extLst>
          </p:cNvPr>
          <p:cNvSpPr>
            <a:spLocks noGrp="1"/>
          </p:cNvSpPr>
          <p:nvPr>
            <p:ph type="body" sz="quarter" idx="10"/>
          </p:nvPr>
        </p:nvSpPr>
        <p:spPr/>
        <p:txBody>
          <a:bodyPr/>
          <a:lstStyle/>
          <a:p>
            <a:endParaRPr lang="en-GB"/>
          </a:p>
        </p:txBody>
      </p:sp>
      <p:pic>
        <p:nvPicPr>
          <p:cNvPr id="7" name="Picture 6" title="CoVDP_IAI report_amc">
            <a:extLst>
              <a:ext uri="{FF2B5EF4-FFF2-40B4-BE49-F238E27FC236}">
                <a16:creationId xmlns:a16="http://schemas.microsoft.com/office/drawing/2014/main" id="{E5BAA5CF-C911-4009-3D2C-7ADF6330657F}"/>
              </a:ext>
            </a:extLst>
          </p:cNvPr>
          <p:cNvPicPr>
            <a:picLocks noChangeAspect="1"/>
          </p:cNvPicPr>
          <p:nvPr>
            <p:custDataLst>
              <p:tags r:id="rId1"/>
            </p:custDataLst>
          </p:nvPr>
        </p:nvPicPr>
        <p:blipFill>
          <a:blip r:embed="rId3"/>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21924319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C35E4F-8E48-7D73-2E98-AFABAD19607B}"/>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52FDE34B-746D-1492-B8B2-C5D42108B6C8}"/>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872E7E2B-6DB1-A305-C739-664E7C8F8454}"/>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7C3A8B45-5B5C-7CF7-246F-312A14FC834D}"/>
              </a:ext>
            </a:extLst>
          </p:cNvPr>
          <p:cNvPicPr>
            <a:picLocks noChangeAspect="1"/>
          </p:cNvPicPr>
          <p:nvPr>
            <p:custDataLst>
              <p:tags r:id="rId1"/>
            </p:custDataLst>
          </p:nvPr>
        </p:nvPicPr>
        <p:blipFill>
          <a:blip r:embed="rId3"/>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40508577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5B6AC0D-6226-4E21-94EF-4A4846B6DFB2}"/>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22950349-1856-4F8D-9D11-4BB44261FE64}"/>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C78F719A-FD9F-4385-8CC9-C77AFDBB104F}"/>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CE80B387-9FCC-D465-4D73-0020F5F606DF}"/>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30024008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10DE254-8D40-95A2-E3FC-972846BDAA25}"/>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1458EA12-9FC4-9F29-636F-111FD1010877}"/>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DD987C2F-086C-B07F-BD09-6A99084E4C4B}"/>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56CEC0FE-7EFC-13C3-0BF3-AD9B078DB045}"/>
              </a:ext>
            </a:extLst>
          </p:cNvPr>
          <p:cNvPicPr>
            <a:picLocks noChangeAspect="1"/>
          </p:cNvPicPr>
          <p:nvPr>
            <p:custDataLst>
              <p:tags r:id="rId1"/>
            </p:custDataLst>
          </p:nvPr>
        </p:nvPicPr>
        <p:blipFill>
          <a:blip r:embed="rId3"/>
          <a:srcRect/>
          <a:stretch>
            <a:fillRect/>
          </a:stretch>
        </p:blipFill>
        <p:spPr>
          <a:xfrm>
            <a:off x="0" y="0"/>
            <a:ext cx="12192000" cy="6857999"/>
          </a:xfrm>
          <a:prstGeom prst="rect">
            <a:avLst/>
          </a:prstGeom>
        </p:spPr>
      </p:pic>
    </p:spTree>
    <p:extLst>
      <p:ext uri="{BB962C8B-B14F-4D97-AF65-F5344CB8AC3E}">
        <p14:creationId xmlns:p14="http://schemas.microsoft.com/office/powerpoint/2010/main" val="39623770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D48760F-F00D-72C5-1367-6450F874A235}"/>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D9A339AD-4E68-474B-F32C-92FC80B72B44}"/>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DB7018B8-E8BB-953D-CE14-5EF90F766858}"/>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4F29C9D2-E20D-4572-5596-B386AA4307DC}"/>
              </a:ext>
            </a:extLst>
          </p:cNvPr>
          <p:cNvPicPr>
            <a:picLocks noChangeAspect="1"/>
          </p:cNvPicPr>
          <p:nvPr>
            <p:custDataLst>
              <p:tags r:id="rId1"/>
            </p:custDataLst>
          </p:nvPr>
        </p:nvPicPr>
        <p:blipFill>
          <a:blip r:embed="rId3"/>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5973219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91CEF17-27F1-45A0-A022-3C9C98118A86}"/>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781F069B-2107-4C13-9CCD-41F1CA2C1B6C}"/>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A03C452C-BB60-4DC1-BFC4-69C7357793E0}"/>
              </a:ext>
            </a:extLst>
          </p:cNvPr>
          <p:cNvSpPr>
            <a:spLocks noGrp="1"/>
          </p:cNvSpPr>
          <p:nvPr>
            <p:ph type="title"/>
          </p:nvPr>
        </p:nvSpPr>
        <p:spPr/>
        <p:txBody>
          <a:bodyPr/>
          <a:lstStyle/>
          <a:p>
            <a:endParaRPr lang="en-GB"/>
          </a:p>
        </p:txBody>
      </p:sp>
      <p:pic>
        <p:nvPicPr>
          <p:cNvPr id="9" name="Picture 8" title="CoVDP_IAI report_amc">
            <a:extLst>
              <a:ext uri="{FF2B5EF4-FFF2-40B4-BE49-F238E27FC236}">
                <a16:creationId xmlns:a16="http://schemas.microsoft.com/office/drawing/2014/main" id="{DE308C47-C20C-7986-735C-828D97F35318}"/>
              </a:ext>
            </a:extLst>
          </p:cNvPr>
          <p:cNvPicPr>
            <a:picLocks noChangeAspect="1"/>
          </p:cNvPicPr>
          <p:nvPr>
            <p:custDataLst>
              <p:tags r:id="rId1"/>
            </p:custDataLst>
          </p:nvPr>
        </p:nvPicPr>
        <p:blipFill>
          <a:blip r:embed="rId3"/>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7279431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6EE1305-4516-4B90-B2DB-530D743458AE}"/>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4D92C18C-9086-4C19-9AD2-F313B9F926FF}"/>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43D6E18B-48C8-44EC-BFE6-87242BB9023B}"/>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19A96726-0C74-8FC6-2238-5ECBB01A9C0E}"/>
              </a:ext>
            </a:extLst>
          </p:cNvPr>
          <p:cNvPicPr>
            <a:picLocks noChangeAspect="1"/>
          </p:cNvPicPr>
          <p:nvPr>
            <p:custDataLst>
              <p:tags r:id="rId1"/>
            </p:custDataLst>
          </p:nvPr>
        </p:nvPicPr>
        <p:blipFill>
          <a:blip r:embed="rId3"/>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1530889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25B4DE-A4BD-44EA-97A9-40821E3FE3D8}"/>
              </a:ext>
            </a:extLst>
          </p:cNvPr>
          <p:cNvGraphicFramePr>
            <a:graphicFrameLocks noChangeAspect="1"/>
          </p:cNvGraphicFramePr>
          <p:nvPr>
            <p:custDataLst>
              <p:tags r:id="rId1"/>
            </p:custDataLst>
            <p:extLst>
              <p:ext uri="{D42A27DB-BD31-4B8C-83A1-F6EECF244321}">
                <p14:modId xmlns:p14="http://schemas.microsoft.com/office/powerpoint/2010/main" val="1925345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6D25B4DE-A4BD-44EA-97A9-40821E3FE3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926555-EE26-4B68-9091-62C31ADD4B0D}"/>
              </a:ext>
            </a:extLst>
          </p:cNvPr>
          <p:cNvSpPr>
            <a:spLocks noGrp="1"/>
          </p:cNvSpPr>
          <p:nvPr>
            <p:ph type="title"/>
          </p:nvPr>
        </p:nvSpPr>
        <p:spPr/>
        <p:txBody>
          <a:bodyPr vert="horz"/>
          <a:lstStyle/>
          <a:p>
            <a:r>
              <a:rPr lang="en-GB"/>
              <a:t>c. Daily vaccination rate</a:t>
            </a:r>
          </a:p>
        </p:txBody>
      </p:sp>
    </p:spTree>
    <p:extLst>
      <p:ext uri="{BB962C8B-B14F-4D97-AF65-F5344CB8AC3E}">
        <p14:creationId xmlns:p14="http://schemas.microsoft.com/office/powerpoint/2010/main" val="11982936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5D44B43-1E7B-4F53-8A98-00A4DFD71D2E}"/>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EF49B669-70A1-4E09-A49F-2F4085DEFE62}"/>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77E435F0-0A45-46A9-A658-6F4A592494FD}"/>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B68DC8E9-9728-D4A6-30C5-8B64C14E2A0D}"/>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27754218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428310-AF46-478D-9533-6DD048DCF1BD}"/>
              </a:ext>
            </a:extLst>
          </p:cNvPr>
          <p:cNvGraphicFramePr>
            <a:graphicFrameLocks noChangeAspect="1"/>
          </p:cNvGraphicFramePr>
          <p:nvPr>
            <p:custDataLst>
              <p:tags r:id="rId1"/>
            </p:custDataLst>
            <p:extLst>
              <p:ext uri="{D42A27DB-BD31-4B8C-83A1-F6EECF244321}">
                <p14:modId xmlns:p14="http://schemas.microsoft.com/office/powerpoint/2010/main" val="3745276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FE428310-AF46-478D-9533-6DD048DCF1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ADAC76-0B22-4719-8E76-D0E449F6F569}"/>
              </a:ext>
            </a:extLst>
          </p:cNvPr>
          <p:cNvSpPr>
            <a:spLocks noGrp="1"/>
          </p:cNvSpPr>
          <p:nvPr>
            <p:ph type="title"/>
          </p:nvPr>
        </p:nvSpPr>
        <p:spPr/>
        <p:txBody>
          <a:bodyPr vert="horz"/>
          <a:lstStyle/>
          <a:p>
            <a:r>
              <a:rPr lang="en-GB" sz="2800"/>
              <a:t>Contents</a:t>
            </a:r>
          </a:p>
        </p:txBody>
      </p:sp>
      <p:sp>
        <p:nvSpPr>
          <p:cNvPr id="6" name="TextBox 5">
            <a:extLst>
              <a:ext uri="{FF2B5EF4-FFF2-40B4-BE49-F238E27FC236}">
                <a16:creationId xmlns:a16="http://schemas.microsoft.com/office/drawing/2014/main" id="{25CF4999-86A8-4F32-A320-561A9BFA506A}"/>
              </a:ext>
            </a:extLst>
          </p:cNvPr>
          <p:cNvSpPr txBox="1"/>
          <p:nvPr/>
        </p:nvSpPr>
        <p:spPr>
          <a:xfrm>
            <a:off x="4071668" y="1259155"/>
            <a:ext cx="7565596" cy="4339689"/>
          </a:xfrm>
          <a:prstGeom prst="rect">
            <a:avLst/>
          </a:prstGeom>
          <a:ln w="6350">
            <a:noFill/>
            <a:miter lim="800000"/>
          </a:ln>
        </p:spPr>
        <p:txBody>
          <a:bodyPr vert="horz" wrap="square" lIns="0" tIns="0" rIns="0" bIns="0" rtlCol="0" anchor="ctr">
            <a:noAutofit/>
          </a:bodyPr>
          <a:lstStyle/>
          <a:p>
            <a:pPr marL="514350" indent="-514350" algn="l">
              <a:spcBef>
                <a:spcPts val="300"/>
              </a:spcBef>
              <a:spcAft>
                <a:spcPts val="1200"/>
              </a:spcAft>
              <a:buFont typeface="+mj-lt"/>
              <a:buAutoNum type="romanUcPeriod"/>
            </a:pPr>
            <a:r>
              <a:rPr lang="en-GB" sz="2000" b="1"/>
              <a:t>AMC92 portfolio analysis</a:t>
            </a:r>
          </a:p>
          <a:p>
            <a:pPr marL="914400" lvl="1" indent="-457200">
              <a:spcBef>
                <a:spcPts val="300"/>
              </a:spcBef>
              <a:spcAft>
                <a:spcPts val="1200"/>
              </a:spcAft>
              <a:buFont typeface="+mj-lt"/>
              <a:buAutoNum type="alphaLcPeriod"/>
            </a:pPr>
            <a:r>
              <a:rPr lang="en-GB"/>
              <a:t>Summary</a:t>
            </a:r>
          </a:p>
          <a:p>
            <a:pPr marL="914400" lvl="1" indent="-457200">
              <a:spcBef>
                <a:spcPts val="300"/>
              </a:spcBef>
              <a:spcAft>
                <a:spcPts val="1200"/>
              </a:spcAft>
              <a:buFont typeface="+mj-lt"/>
              <a:buAutoNum type="alphaLcPeriod"/>
            </a:pPr>
            <a:r>
              <a:rPr lang="en-GB"/>
              <a:t>Population coverage</a:t>
            </a:r>
          </a:p>
          <a:p>
            <a:pPr marL="914400" lvl="1" indent="-457200">
              <a:spcBef>
                <a:spcPts val="300"/>
              </a:spcBef>
              <a:spcAft>
                <a:spcPts val="1200"/>
              </a:spcAft>
              <a:buFont typeface="+mj-lt"/>
              <a:buAutoNum type="alphaLcPeriod"/>
            </a:pPr>
            <a:r>
              <a:rPr lang="en-GB"/>
              <a:t>Daily vaccination rate</a:t>
            </a:r>
          </a:p>
          <a:p>
            <a:pPr marL="914400" lvl="1" indent="-457200">
              <a:spcBef>
                <a:spcPts val="300"/>
              </a:spcBef>
              <a:spcAft>
                <a:spcPts val="1200"/>
              </a:spcAft>
              <a:buFont typeface="+mj-lt"/>
              <a:buAutoNum type="alphaLcPeriod"/>
            </a:pPr>
            <a:r>
              <a:rPr lang="en-GB"/>
              <a:t>Supply secured &amp; received</a:t>
            </a:r>
          </a:p>
          <a:p>
            <a:pPr marL="914400" lvl="1" indent="-457200">
              <a:spcBef>
                <a:spcPts val="300"/>
              </a:spcBef>
              <a:spcAft>
                <a:spcPts val="1200"/>
              </a:spcAft>
              <a:buFont typeface="+mj-lt"/>
              <a:buAutoNum type="alphaLcPeriod"/>
            </a:pPr>
            <a:r>
              <a:rPr lang="en-GB"/>
              <a:t>Delivery financing</a:t>
            </a:r>
          </a:p>
          <a:p>
            <a:pPr marL="342900" indent="-342900">
              <a:spcBef>
                <a:spcPts val="1800"/>
              </a:spcBef>
              <a:spcAft>
                <a:spcPts val="1200"/>
              </a:spcAft>
              <a:buFont typeface="+mj-lt"/>
              <a:buAutoNum type="romanUcPeriod"/>
            </a:pPr>
            <a:r>
              <a:rPr lang="en-GB" sz="2000" b="1"/>
              <a:t>Concerted support country analysis</a:t>
            </a:r>
          </a:p>
          <a:p>
            <a:pPr marL="342900" indent="-342900">
              <a:spcBef>
                <a:spcPts val="1800"/>
              </a:spcBef>
              <a:spcAft>
                <a:spcPts val="1200"/>
              </a:spcAft>
              <a:buFont typeface="+mj-lt"/>
              <a:buAutoNum type="romanUcPeriod"/>
            </a:pPr>
            <a:r>
              <a:rPr lang="en-GB" sz="2000" b="1"/>
              <a:t>Annexes</a:t>
            </a:r>
          </a:p>
        </p:txBody>
      </p:sp>
    </p:spTree>
    <p:extLst>
      <p:ext uri="{BB962C8B-B14F-4D97-AF65-F5344CB8AC3E}">
        <p14:creationId xmlns:p14="http://schemas.microsoft.com/office/powerpoint/2010/main" val="8186042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E69D657-EC64-4BD3-99BB-BF682D7A1E67}"/>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0DE43C95-25FB-4CB4-BB84-EC80F3675496}"/>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A8EF956E-CFB6-4B7F-8257-B6BA686FA83D}"/>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2471600D-2C1D-E5E4-FCA9-6551A17C4B87}"/>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17995403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FF6709-46B8-4621-991C-242319B2C96E}"/>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EE2EDFBB-FBC4-4C99-BE02-9B2AEAE1FCBA}"/>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F67CFD4E-8C93-4C0C-A6B4-B64ABEFE036F}"/>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89296A36-6389-2802-F715-EDA9E829FAB2}"/>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7928539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CFB89CA-4408-4FAE-BA5F-E0594D59D992}"/>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F334A237-16BA-49C7-902F-4EC8CFD4050D}"/>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53915CAD-8DA3-423A-BB83-FB3C83F22AC8}"/>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B9BB89E5-9362-B5EE-7E4C-9D4E19A422E6}"/>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16868458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25B4DE-A4BD-44EA-97A9-40821E3FE3D8}"/>
              </a:ext>
            </a:extLst>
          </p:cNvPr>
          <p:cNvGraphicFramePr>
            <a:graphicFrameLocks noChangeAspect="1"/>
          </p:cNvGraphicFramePr>
          <p:nvPr>
            <p:custDataLst>
              <p:tags r:id="rId1"/>
            </p:custDataLst>
            <p:extLst>
              <p:ext uri="{D42A27DB-BD31-4B8C-83A1-F6EECF244321}">
                <p14:modId xmlns:p14="http://schemas.microsoft.com/office/powerpoint/2010/main" val="2862840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6D25B4DE-A4BD-44EA-97A9-40821E3FE3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926555-EE26-4B68-9091-62C31ADD4B0D}"/>
              </a:ext>
            </a:extLst>
          </p:cNvPr>
          <p:cNvSpPr>
            <a:spLocks noGrp="1"/>
          </p:cNvSpPr>
          <p:nvPr>
            <p:ph type="title"/>
          </p:nvPr>
        </p:nvSpPr>
        <p:spPr/>
        <p:txBody>
          <a:bodyPr vert="horz"/>
          <a:lstStyle/>
          <a:p>
            <a:r>
              <a:rPr lang="en-GB"/>
              <a:t>d. Supply secured &amp; received</a:t>
            </a:r>
          </a:p>
        </p:txBody>
      </p:sp>
    </p:spTree>
    <p:extLst>
      <p:ext uri="{BB962C8B-B14F-4D97-AF65-F5344CB8AC3E}">
        <p14:creationId xmlns:p14="http://schemas.microsoft.com/office/powerpoint/2010/main" val="37378257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4E31281-AE47-45E4-A820-7A44A1ECA9D9}"/>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5F292808-8F9E-4C11-901A-858D0F903AC4}"/>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D5798EA4-CD74-472F-B60D-8B387ACC1A5B}"/>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21AA8B90-082D-7707-C77C-7C89B2A08145}"/>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36464055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3F4FE0-9799-4136-948A-7CF0D7BB7501}"/>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8FFF19C8-146F-4F78-98C9-C207E17DA583}"/>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710BEFC9-CDEA-4E24-A2BD-CCF0EF952115}"/>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DEE8BD67-024A-D277-436B-92FFD1AB589F}"/>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27179689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23E939-7D94-4A4A-95D6-CA57A48C202A}"/>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DD4AC39A-5845-46A6-A3E1-B65F68A78BC3}"/>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01DCDCA0-FC3D-4202-8E46-0157EE532278}"/>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06EC6DD1-9C01-4EA6-27E2-B7921F132ED2}"/>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41402456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309E91F-7857-4EA7-A5C9-92016C014093}"/>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6D9C6368-57C3-4DB2-836B-39BFF2431D1C}"/>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6BF3A750-777B-49DD-962E-FD3650778600}"/>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3C925F2B-A75F-0642-7F64-99F221F7B6D4}"/>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23320369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03B57F-7809-49E6-95F4-03191EDBC186}"/>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FF4BAD08-D76A-4E89-A165-AA68F671B478}"/>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2FE5C9C5-4DFB-4719-AF04-F5DE9E37300A}"/>
              </a:ext>
            </a:extLst>
          </p:cNvPr>
          <p:cNvSpPr>
            <a:spLocks noGrp="1"/>
          </p:cNvSpPr>
          <p:nvPr>
            <p:ph type="title"/>
          </p:nvPr>
        </p:nvSpPr>
        <p:spPr/>
        <p:txBody>
          <a:bodyPr/>
          <a:lstStyle/>
          <a:p>
            <a:endParaRPr lang="en-GB"/>
          </a:p>
        </p:txBody>
      </p:sp>
      <p:pic>
        <p:nvPicPr>
          <p:cNvPr id="9" name="Picture 8" title="CoVDP_IAI report_amc">
            <a:extLst>
              <a:ext uri="{FF2B5EF4-FFF2-40B4-BE49-F238E27FC236}">
                <a16:creationId xmlns:a16="http://schemas.microsoft.com/office/drawing/2014/main" id="{925363A9-47BF-52C2-CF68-8F2F08F32BF9}"/>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9056961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8DC1CB1-55FD-4505-AF5A-BE08219DAB90}"/>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689727C3-6B87-419F-8089-42382BEEAC3F}"/>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E914A414-7E05-4F5A-BEF9-4ADA0851B748}"/>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C14F0843-C13A-D85C-5670-D7DAA0BA4876}"/>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688554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25B4DE-A4BD-44EA-97A9-40821E3FE3D8}"/>
              </a:ext>
            </a:extLst>
          </p:cNvPr>
          <p:cNvGraphicFramePr>
            <a:graphicFrameLocks noChangeAspect="1"/>
          </p:cNvGraphicFramePr>
          <p:nvPr>
            <p:custDataLst>
              <p:tags r:id="rId1"/>
            </p:custDataLst>
            <p:extLst>
              <p:ext uri="{D42A27DB-BD31-4B8C-83A1-F6EECF244321}">
                <p14:modId xmlns:p14="http://schemas.microsoft.com/office/powerpoint/2010/main" val="3962909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6D25B4DE-A4BD-44EA-97A9-40821E3FE3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926555-EE26-4B68-9091-62C31ADD4B0D}"/>
              </a:ext>
            </a:extLst>
          </p:cNvPr>
          <p:cNvSpPr>
            <a:spLocks noGrp="1"/>
          </p:cNvSpPr>
          <p:nvPr>
            <p:ph type="title"/>
          </p:nvPr>
        </p:nvSpPr>
        <p:spPr/>
        <p:txBody>
          <a:bodyPr vert="horz"/>
          <a:lstStyle/>
          <a:p>
            <a:r>
              <a:rPr lang="en-GB"/>
              <a:t>I. AMC92 portfolio analysis</a:t>
            </a:r>
          </a:p>
        </p:txBody>
      </p:sp>
    </p:spTree>
    <p:extLst>
      <p:ext uri="{BB962C8B-B14F-4D97-AF65-F5344CB8AC3E}">
        <p14:creationId xmlns:p14="http://schemas.microsoft.com/office/powerpoint/2010/main" val="25761555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25B4DE-A4BD-44EA-97A9-40821E3FE3D8}"/>
              </a:ext>
            </a:extLst>
          </p:cNvPr>
          <p:cNvGraphicFramePr>
            <a:graphicFrameLocks noChangeAspect="1"/>
          </p:cNvGraphicFramePr>
          <p:nvPr>
            <p:custDataLst>
              <p:tags r:id="rId1"/>
            </p:custDataLst>
            <p:extLst>
              <p:ext uri="{D42A27DB-BD31-4B8C-83A1-F6EECF244321}">
                <p14:modId xmlns:p14="http://schemas.microsoft.com/office/powerpoint/2010/main" val="1397402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6D25B4DE-A4BD-44EA-97A9-40821E3FE3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926555-EE26-4B68-9091-62C31ADD4B0D}"/>
              </a:ext>
            </a:extLst>
          </p:cNvPr>
          <p:cNvSpPr>
            <a:spLocks noGrp="1"/>
          </p:cNvSpPr>
          <p:nvPr>
            <p:ph type="title"/>
          </p:nvPr>
        </p:nvSpPr>
        <p:spPr/>
        <p:txBody>
          <a:bodyPr vert="horz"/>
          <a:lstStyle/>
          <a:p>
            <a:r>
              <a:rPr lang="en-GB"/>
              <a:t>e. Delivery financing</a:t>
            </a:r>
          </a:p>
        </p:txBody>
      </p:sp>
    </p:spTree>
    <p:extLst>
      <p:ext uri="{BB962C8B-B14F-4D97-AF65-F5344CB8AC3E}">
        <p14:creationId xmlns:p14="http://schemas.microsoft.com/office/powerpoint/2010/main" val="23338487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59CDA2-D613-42A2-80BC-CD51FAA9F453}"/>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97D0D7BF-A657-4CE7-8E89-57F0074950FD}"/>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27CC8B19-B6B9-4D83-9621-BC5EB37E6579}"/>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4FA21162-9436-B216-C3E9-222F96BADD61}"/>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323431416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7EFC0-55F2-4C1B-9F37-7A9045952E0A}"/>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684D9B06-A95E-4D77-B5E6-0B42633802CE}"/>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7A317999-1202-4D81-A0FE-CC4DFD62D864}"/>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01F86034-468B-04C8-F82C-8E834796AF51}"/>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41799956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EB8877-5A7B-400E-A0FA-A595F3EB2FCE}"/>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2F2DD282-7005-4D99-9562-BCA22AC0AD12}"/>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525FA3A3-D25E-4F77-83A4-7B5E9A5F75CD}"/>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AAC75F01-2E0D-741A-AEFC-4D410D5B0B51}"/>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12953300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25B4DE-A4BD-44EA-97A9-40821E3FE3D8}"/>
              </a:ext>
            </a:extLst>
          </p:cNvPr>
          <p:cNvGraphicFramePr>
            <a:graphicFrameLocks noChangeAspect="1"/>
          </p:cNvGraphicFramePr>
          <p:nvPr>
            <p:custDataLst>
              <p:tags r:id="rId1"/>
            </p:custDataLst>
            <p:extLst>
              <p:ext uri="{D42A27DB-BD31-4B8C-83A1-F6EECF244321}">
                <p14:modId xmlns:p14="http://schemas.microsoft.com/office/powerpoint/2010/main" val="32731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6D25B4DE-A4BD-44EA-97A9-40821E3FE3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926555-EE26-4B68-9091-62C31ADD4B0D}"/>
              </a:ext>
            </a:extLst>
          </p:cNvPr>
          <p:cNvSpPr>
            <a:spLocks noGrp="1"/>
          </p:cNvSpPr>
          <p:nvPr>
            <p:ph type="title"/>
          </p:nvPr>
        </p:nvSpPr>
        <p:spPr/>
        <p:txBody>
          <a:bodyPr vert="horz"/>
          <a:lstStyle/>
          <a:p>
            <a:r>
              <a:rPr lang="en-GB"/>
              <a:t>II. Concerted support countries analysis </a:t>
            </a:r>
          </a:p>
        </p:txBody>
      </p:sp>
    </p:spTree>
    <p:extLst>
      <p:ext uri="{BB962C8B-B14F-4D97-AF65-F5344CB8AC3E}">
        <p14:creationId xmlns:p14="http://schemas.microsoft.com/office/powerpoint/2010/main" val="4234969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8DC5AB-E5FF-458B-AB11-64E1898ED1B8}"/>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CD556697-6B64-402C-A165-B044280C7E34}"/>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430640DA-9E50-4B44-9037-632AE478BF4B}"/>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3BCE1D8A-E3F3-649B-85E8-8F50C35A79B8}"/>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4680252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72BDAE-BC57-4FC1-BDBD-5229F3E9C98E}"/>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7F1BA4B9-E2B2-4425-9961-DACD62A80876}"/>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723D3058-73D9-4184-97D2-CFEB60244F0F}"/>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0E759C0F-FCC8-7956-5383-9363E00BBF12}"/>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23795830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6B9918-1716-40C1-B6C8-84074844F67D}"/>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0C0CCFAC-4840-4B5E-A5E2-43276D7D6E49}"/>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A5493E4A-FD5E-4A2A-BD4D-D561F08DC377}"/>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38B1A9E4-22F6-F92B-3297-3D20682A8D61}"/>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14399328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CoVDP_IAI report_amc">
            <a:extLst>
              <a:ext uri="{FF2B5EF4-FFF2-40B4-BE49-F238E27FC236}">
                <a16:creationId xmlns:a16="http://schemas.microsoft.com/office/drawing/2014/main" id="{D054691B-53C7-5651-F640-018A5065A65B}"/>
              </a:ext>
            </a:extLst>
          </p:cNvPr>
          <p:cNvPicPr>
            <a:picLocks/>
          </p:cNvPicPr>
          <p:nvPr>
            <p:custDataLst>
              <p:tags r:id="rId1"/>
            </p:custDataLst>
          </p:nvPr>
        </p:nvPicPr>
        <p:blipFill>
          <a:blip r:embed="rId4"/>
          <a:srcRect/>
          <a:stretch>
            <a:fillRect/>
          </a:stretch>
        </p:blipFill>
        <p:spPr>
          <a:xfrm>
            <a:off x="1" y="0"/>
            <a:ext cx="12192000" cy="6858000"/>
          </a:xfrm>
          <a:prstGeom prst="rect">
            <a:avLst/>
          </a:prstGeom>
        </p:spPr>
      </p:pic>
    </p:spTree>
    <p:extLst>
      <p:ext uri="{BB962C8B-B14F-4D97-AF65-F5344CB8AC3E}">
        <p14:creationId xmlns:p14="http://schemas.microsoft.com/office/powerpoint/2010/main" val="24287940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title="CoVDP_IAI report_amc">
            <a:extLst>
              <a:ext uri="{FF2B5EF4-FFF2-40B4-BE49-F238E27FC236}">
                <a16:creationId xmlns:a16="http://schemas.microsoft.com/office/drawing/2014/main" id="{A773AE30-ED7B-2C59-4D2D-AD2A4B4B84F4}"/>
              </a:ext>
            </a:extLst>
          </p:cNvPr>
          <p:cNvPicPr>
            <a:picLocks/>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23791461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25B4DE-A4BD-44EA-97A9-40821E3FE3D8}"/>
              </a:ext>
            </a:extLst>
          </p:cNvPr>
          <p:cNvGraphicFramePr>
            <a:graphicFrameLocks noChangeAspect="1"/>
          </p:cNvGraphicFramePr>
          <p:nvPr>
            <p:custDataLst>
              <p:tags r:id="rId1"/>
            </p:custDataLst>
            <p:extLst>
              <p:ext uri="{D42A27DB-BD31-4B8C-83A1-F6EECF244321}">
                <p14:modId xmlns:p14="http://schemas.microsoft.com/office/powerpoint/2010/main" val="3633499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6D25B4DE-A4BD-44EA-97A9-40821E3FE3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926555-EE26-4B68-9091-62C31ADD4B0D}"/>
              </a:ext>
            </a:extLst>
          </p:cNvPr>
          <p:cNvSpPr>
            <a:spLocks noGrp="1"/>
          </p:cNvSpPr>
          <p:nvPr>
            <p:ph type="title"/>
          </p:nvPr>
        </p:nvSpPr>
        <p:spPr/>
        <p:txBody>
          <a:bodyPr vert="horz"/>
          <a:lstStyle/>
          <a:p>
            <a:r>
              <a:rPr lang="en-GB"/>
              <a:t>a. Participant summary</a:t>
            </a:r>
          </a:p>
        </p:txBody>
      </p:sp>
    </p:spTree>
    <p:extLst>
      <p:ext uri="{BB962C8B-B14F-4D97-AF65-F5344CB8AC3E}">
        <p14:creationId xmlns:p14="http://schemas.microsoft.com/office/powerpoint/2010/main" val="310786023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22625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A363B5-694D-25A6-6552-B26F628852BF}"/>
              </a:ext>
            </a:extLst>
          </p:cNvPr>
          <p:cNvGraphicFramePr>
            <a:graphicFrameLocks noChangeAspect="1"/>
          </p:cNvGraphicFramePr>
          <p:nvPr>
            <p:custDataLst>
              <p:tags r:id="rId1"/>
            </p:custDataLst>
            <p:extLst>
              <p:ext uri="{D42A27DB-BD31-4B8C-83A1-F6EECF244321}">
                <p14:modId xmlns:p14="http://schemas.microsoft.com/office/powerpoint/2010/main" val="2670584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8" name="Object 7" hidden="1">
                        <a:extLst>
                          <a:ext uri="{FF2B5EF4-FFF2-40B4-BE49-F238E27FC236}">
                            <a16:creationId xmlns:a16="http://schemas.microsoft.com/office/drawing/2014/main" id="{5FA363B5-694D-25A6-6552-B26F628852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BC4B7A-3562-552F-464A-1BC9650B4292}"/>
              </a:ext>
            </a:extLst>
          </p:cNvPr>
          <p:cNvSpPr>
            <a:spLocks noGrp="1"/>
          </p:cNvSpPr>
          <p:nvPr>
            <p:ph type="title"/>
          </p:nvPr>
        </p:nvSpPr>
        <p:spPr>
          <a:xfrm>
            <a:off x="554736" y="197613"/>
            <a:ext cx="11082528" cy="369332"/>
          </a:xfrm>
        </p:spPr>
        <p:txBody>
          <a:bodyPr vert="horz"/>
          <a:lstStyle/>
          <a:p>
            <a:r>
              <a:rPr lang="en-GB" sz="2400"/>
              <a:t>Annex 1: Country codes</a:t>
            </a:r>
          </a:p>
        </p:txBody>
      </p:sp>
      <p:graphicFrame>
        <p:nvGraphicFramePr>
          <p:cNvPr id="5" name="Table 11">
            <a:extLst>
              <a:ext uri="{FF2B5EF4-FFF2-40B4-BE49-F238E27FC236}">
                <a16:creationId xmlns:a16="http://schemas.microsoft.com/office/drawing/2014/main" id="{87B0C562-D6F9-6FE8-AE36-5C2AEA7ADB2C}"/>
              </a:ext>
            </a:extLst>
          </p:cNvPr>
          <p:cNvGraphicFramePr>
            <a:graphicFrameLocks noGrp="1"/>
          </p:cNvGraphicFramePr>
          <p:nvPr>
            <p:extLst>
              <p:ext uri="{D42A27DB-BD31-4B8C-83A1-F6EECF244321}">
                <p14:modId xmlns:p14="http://schemas.microsoft.com/office/powerpoint/2010/main" val="3888931556"/>
              </p:ext>
            </p:extLst>
          </p:nvPr>
        </p:nvGraphicFramePr>
        <p:xfrm>
          <a:off x="554736" y="970278"/>
          <a:ext cx="2344328" cy="5268360"/>
        </p:xfrm>
        <a:graphic>
          <a:graphicData uri="http://schemas.openxmlformats.org/drawingml/2006/table">
            <a:tbl>
              <a:tblPr firstRow="1" bandRow="1">
                <a:tableStyleId>{2D5ABB26-0587-4C30-8999-92F81FD0307C}</a:tableStyleId>
              </a:tblPr>
              <a:tblGrid>
                <a:gridCol w="837646">
                  <a:extLst>
                    <a:ext uri="{9D8B030D-6E8A-4147-A177-3AD203B41FA5}">
                      <a16:colId xmlns:a16="http://schemas.microsoft.com/office/drawing/2014/main" val="3652347298"/>
                    </a:ext>
                  </a:extLst>
                </a:gridCol>
                <a:gridCol w="1506682">
                  <a:extLst>
                    <a:ext uri="{9D8B030D-6E8A-4147-A177-3AD203B41FA5}">
                      <a16:colId xmlns:a16="http://schemas.microsoft.com/office/drawing/2014/main" val="1733877350"/>
                    </a:ext>
                  </a:extLst>
                </a:gridCol>
              </a:tblGrid>
              <a:tr h="295292">
                <a:tc>
                  <a:txBody>
                    <a:bodyPr/>
                    <a:lstStyle/>
                    <a:p>
                      <a:r>
                        <a:rPr lang="en-GB" sz="1400" b="1" u="none"/>
                        <a:t>Code</a:t>
                      </a:r>
                    </a:p>
                  </a:txBody>
                  <a:tcPr marL="36000" marR="36000" marT="36000" marB="108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1400" b="1" i="0" u="none" kern="1200">
                          <a:solidFill>
                            <a:schemeClr val="tx1"/>
                          </a:solidFill>
                          <a:effectLst/>
                          <a:latin typeface="+mn-lt"/>
                          <a:ea typeface="+mn-ea"/>
                          <a:cs typeface="+mn-cs"/>
                        </a:rPr>
                        <a:t>Country name</a:t>
                      </a:r>
                    </a:p>
                  </a:txBody>
                  <a:tcPr marL="36000" marR="36000" marT="36000" marB="108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7669411"/>
                  </a:ext>
                </a:extLst>
              </a:tr>
              <a:tr h="187121">
                <a:tc>
                  <a:txBody>
                    <a:bodyPr/>
                    <a:lstStyle/>
                    <a:p>
                      <a:pPr algn="l" fontAlgn="b"/>
                      <a:r>
                        <a:rPr lang="en-US" sz="1100" b="0" i="0" u="none" strike="noStrike">
                          <a:solidFill>
                            <a:srgbClr val="000000"/>
                          </a:solidFill>
                          <a:effectLst/>
                          <a:latin typeface="Calibri" panose="020F0502020204030204" pitchFamily="34" charset="0"/>
                        </a:rPr>
                        <a:t>AFG</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Afghanista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5364923"/>
                  </a:ext>
                </a:extLst>
              </a:tr>
              <a:tr h="187121">
                <a:tc>
                  <a:txBody>
                    <a:bodyPr/>
                    <a:lstStyle/>
                    <a:p>
                      <a:pPr algn="l" fontAlgn="b"/>
                      <a:r>
                        <a:rPr lang="en-US" sz="1100" b="0" i="0" u="none" strike="noStrike">
                          <a:solidFill>
                            <a:srgbClr val="000000"/>
                          </a:solidFill>
                          <a:effectLst/>
                          <a:latin typeface="Calibri" panose="020F0502020204030204" pitchFamily="34" charset="0"/>
                        </a:rPr>
                        <a:t>AG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Angol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03512146"/>
                  </a:ext>
                </a:extLst>
              </a:tr>
              <a:tr h="187121">
                <a:tc>
                  <a:txBody>
                    <a:bodyPr/>
                    <a:lstStyle/>
                    <a:p>
                      <a:pPr algn="l" fontAlgn="b"/>
                      <a:r>
                        <a:rPr lang="en-US" sz="1100" b="0" i="0" u="none" strike="noStrike">
                          <a:solidFill>
                            <a:srgbClr val="000000"/>
                          </a:solidFill>
                          <a:effectLst/>
                          <a:latin typeface="Calibri" panose="020F0502020204030204" pitchFamily="34" charset="0"/>
                        </a:rPr>
                        <a:t>BD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Burund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0159672"/>
                  </a:ext>
                </a:extLst>
              </a:tr>
              <a:tr h="187121">
                <a:tc>
                  <a:txBody>
                    <a:bodyPr/>
                    <a:lstStyle/>
                    <a:p>
                      <a:pPr algn="l" fontAlgn="b"/>
                      <a:r>
                        <a:rPr lang="en-US" sz="1100" b="0" i="0" u="none" strike="noStrike">
                          <a:solidFill>
                            <a:srgbClr val="000000"/>
                          </a:solidFill>
                          <a:effectLst/>
                          <a:latin typeface="Calibri" panose="020F0502020204030204" pitchFamily="34" charset="0"/>
                        </a:rPr>
                        <a:t>BE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Beni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3613053"/>
                  </a:ext>
                </a:extLst>
              </a:tr>
              <a:tr h="187121">
                <a:tc>
                  <a:txBody>
                    <a:bodyPr/>
                    <a:lstStyle/>
                    <a:p>
                      <a:pPr algn="l" fontAlgn="b"/>
                      <a:r>
                        <a:rPr lang="en-US" sz="1100" b="0" i="0" u="none" strike="noStrike">
                          <a:solidFill>
                            <a:srgbClr val="000000"/>
                          </a:solidFill>
                          <a:effectLst/>
                          <a:latin typeface="Calibri" panose="020F0502020204030204" pitchFamily="34" charset="0"/>
                        </a:rPr>
                        <a:t>BF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Burkina Fas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2345302"/>
                  </a:ext>
                </a:extLst>
              </a:tr>
              <a:tr h="187121">
                <a:tc>
                  <a:txBody>
                    <a:bodyPr/>
                    <a:lstStyle/>
                    <a:p>
                      <a:pPr algn="l" fontAlgn="b"/>
                      <a:r>
                        <a:rPr lang="en-US" sz="1100" b="0" i="0" u="none" strike="noStrike">
                          <a:solidFill>
                            <a:srgbClr val="000000"/>
                          </a:solidFill>
                          <a:effectLst/>
                          <a:latin typeface="Calibri" panose="020F0502020204030204" pitchFamily="34" charset="0"/>
                        </a:rPr>
                        <a:t>BGD</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Bangladesh</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5552932"/>
                  </a:ext>
                </a:extLst>
              </a:tr>
              <a:tr h="187121">
                <a:tc>
                  <a:txBody>
                    <a:bodyPr/>
                    <a:lstStyle/>
                    <a:p>
                      <a:pPr algn="l" fontAlgn="b"/>
                      <a:r>
                        <a:rPr lang="en-US" sz="1100" b="0" i="0" u="none" strike="noStrike">
                          <a:solidFill>
                            <a:srgbClr val="000000"/>
                          </a:solidFill>
                          <a:effectLst/>
                          <a:latin typeface="Calibri" panose="020F0502020204030204" pitchFamily="34" charset="0"/>
                        </a:rPr>
                        <a:t>BOL</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Boliv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93227765"/>
                  </a:ext>
                </a:extLst>
              </a:tr>
              <a:tr h="187121">
                <a:tc>
                  <a:txBody>
                    <a:bodyPr/>
                    <a:lstStyle/>
                    <a:p>
                      <a:pPr algn="l" fontAlgn="b"/>
                      <a:r>
                        <a:rPr lang="en-US" sz="1100" b="0" i="0" u="none" strike="noStrike">
                          <a:solidFill>
                            <a:srgbClr val="000000"/>
                          </a:solidFill>
                          <a:effectLst/>
                          <a:latin typeface="Calibri" panose="020F0502020204030204" pitchFamily="34" charset="0"/>
                        </a:rPr>
                        <a:t>BT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Bhuta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54885963"/>
                  </a:ext>
                </a:extLst>
              </a:tr>
              <a:tr h="187121">
                <a:tc>
                  <a:txBody>
                    <a:bodyPr/>
                    <a:lstStyle/>
                    <a:p>
                      <a:pPr algn="l" fontAlgn="b"/>
                      <a:r>
                        <a:rPr lang="en-US" sz="1100" b="0" i="0" u="none" strike="noStrike">
                          <a:solidFill>
                            <a:srgbClr val="000000"/>
                          </a:solidFill>
                          <a:effectLst/>
                          <a:latin typeface="Calibri" panose="020F0502020204030204" pitchFamily="34" charset="0"/>
                        </a:rPr>
                        <a:t>CAF</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A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19258092"/>
                  </a:ext>
                </a:extLst>
              </a:tr>
              <a:tr h="187121">
                <a:tc>
                  <a:txBody>
                    <a:bodyPr/>
                    <a:lstStyle/>
                    <a:p>
                      <a:pPr algn="l" fontAlgn="b"/>
                      <a:r>
                        <a:rPr lang="en-US" sz="1100" b="0" i="0" u="none" strike="noStrike">
                          <a:solidFill>
                            <a:srgbClr val="000000"/>
                          </a:solidFill>
                          <a:effectLst/>
                          <a:latin typeface="Calibri" panose="020F0502020204030204" pitchFamily="34" charset="0"/>
                        </a:rPr>
                        <a:t>CIV</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ôte d'Ivoir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03683867"/>
                  </a:ext>
                </a:extLst>
              </a:tr>
              <a:tr h="187121">
                <a:tc>
                  <a:txBody>
                    <a:bodyPr/>
                    <a:lstStyle/>
                    <a:p>
                      <a:pPr algn="l" fontAlgn="b"/>
                      <a:r>
                        <a:rPr lang="en-US" sz="1100" b="0" i="0" u="none" strike="noStrike">
                          <a:solidFill>
                            <a:srgbClr val="000000"/>
                          </a:solidFill>
                          <a:effectLst/>
                          <a:latin typeface="Calibri" panose="020F0502020204030204" pitchFamily="34" charset="0"/>
                        </a:rPr>
                        <a:t>CM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ameroo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1459235"/>
                  </a:ext>
                </a:extLst>
              </a:tr>
              <a:tr h="187121">
                <a:tc>
                  <a:txBody>
                    <a:bodyPr/>
                    <a:lstStyle/>
                    <a:p>
                      <a:pPr algn="l" fontAlgn="b"/>
                      <a:r>
                        <a:rPr lang="en-US" sz="1100" b="0" i="0" u="none" strike="noStrike">
                          <a:solidFill>
                            <a:srgbClr val="000000"/>
                          </a:solidFill>
                          <a:effectLst/>
                          <a:latin typeface="Calibri" panose="020F0502020204030204" pitchFamily="34" charset="0"/>
                        </a:rPr>
                        <a:t>COD</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DRCong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467682"/>
                  </a:ext>
                </a:extLst>
              </a:tr>
              <a:tr h="187121">
                <a:tc>
                  <a:txBody>
                    <a:bodyPr/>
                    <a:lstStyle/>
                    <a:p>
                      <a:pPr algn="l" fontAlgn="b"/>
                      <a:r>
                        <a:rPr lang="en-US" sz="1100" b="0" i="0" u="none" strike="noStrike">
                          <a:solidFill>
                            <a:srgbClr val="000000"/>
                          </a:solidFill>
                          <a:effectLst/>
                          <a:latin typeface="Calibri" panose="020F0502020204030204" pitchFamily="34" charset="0"/>
                        </a:rPr>
                        <a:t>COG</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ong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9332358"/>
                  </a:ext>
                </a:extLst>
              </a:tr>
              <a:tr h="187121">
                <a:tc>
                  <a:txBody>
                    <a:bodyPr/>
                    <a:lstStyle/>
                    <a:p>
                      <a:pPr algn="l" fontAlgn="b"/>
                      <a:r>
                        <a:rPr lang="en-US" sz="1100" b="0" i="0" u="none" strike="noStrike">
                          <a:solidFill>
                            <a:srgbClr val="000000"/>
                          </a:solidFill>
                          <a:effectLst/>
                          <a:latin typeface="Calibri" panose="020F0502020204030204" pitchFamily="34" charset="0"/>
                        </a:rPr>
                        <a:t>COM</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omoros</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4812935"/>
                  </a:ext>
                </a:extLst>
              </a:tr>
              <a:tr h="187121">
                <a:tc>
                  <a:txBody>
                    <a:bodyPr/>
                    <a:lstStyle/>
                    <a:p>
                      <a:pPr algn="l" fontAlgn="b"/>
                      <a:r>
                        <a:rPr lang="en-US" sz="1100" b="0" i="0" u="none" strike="noStrike">
                          <a:solidFill>
                            <a:srgbClr val="000000"/>
                          </a:solidFill>
                          <a:effectLst/>
                          <a:latin typeface="Calibri" panose="020F0502020204030204" pitchFamily="34" charset="0"/>
                        </a:rPr>
                        <a:t>CPV</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abo Verd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66789183"/>
                  </a:ext>
                </a:extLst>
              </a:tr>
              <a:tr h="187121">
                <a:tc>
                  <a:txBody>
                    <a:bodyPr/>
                    <a:lstStyle/>
                    <a:p>
                      <a:pPr algn="l" fontAlgn="b"/>
                      <a:r>
                        <a:rPr lang="en-US" sz="1100" b="0" i="0" u="none" strike="noStrike">
                          <a:solidFill>
                            <a:srgbClr val="000000"/>
                          </a:solidFill>
                          <a:effectLst/>
                          <a:latin typeface="Calibri" panose="020F0502020204030204" pitchFamily="34" charset="0"/>
                        </a:rPr>
                        <a:t>DJ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Djibout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6748943"/>
                  </a:ext>
                </a:extLst>
              </a:tr>
              <a:tr h="187121">
                <a:tc>
                  <a:txBody>
                    <a:bodyPr/>
                    <a:lstStyle/>
                    <a:p>
                      <a:pPr algn="l" fontAlgn="b"/>
                      <a:r>
                        <a:rPr lang="en-US" sz="1100" b="0" i="0" u="none" strike="noStrike">
                          <a:solidFill>
                            <a:srgbClr val="000000"/>
                          </a:solidFill>
                          <a:effectLst/>
                          <a:latin typeface="Calibri" panose="020F0502020204030204" pitchFamily="34" charset="0"/>
                        </a:rPr>
                        <a:t>DM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Dominic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4772511"/>
                  </a:ext>
                </a:extLst>
              </a:tr>
              <a:tr h="187121">
                <a:tc>
                  <a:txBody>
                    <a:bodyPr/>
                    <a:lstStyle/>
                    <a:p>
                      <a:pPr algn="l" fontAlgn="b"/>
                      <a:r>
                        <a:rPr lang="en-US" sz="1100" b="0" i="0" u="none" strike="noStrike">
                          <a:solidFill>
                            <a:srgbClr val="000000"/>
                          </a:solidFill>
                          <a:effectLst/>
                          <a:latin typeface="Calibri" panose="020F0502020204030204" pitchFamily="34" charset="0"/>
                        </a:rPr>
                        <a:t>DZ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Alger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67739263"/>
                  </a:ext>
                </a:extLst>
              </a:tr>
              <a:tr h="187121">
                <a:tc>
                  <a:txBody>
                    <a:bodyPr/>
                    <a:lstStyle/>
                    <a:p>
                      <a:pPr algn="l" fontAlgn="b"/>
                      <a:r>
                        <a:rPr lang="en-US" sz="1100" b="0" i="0" u="none" strike="noStrike">
                          <a:solidFill>
                            <a:srgbClr val="000000"/>
                          </a:solidFill>
                          <a:effectLst/>
                          <a:latin typeface="Calibri" panose="020F0502020204030204" pitchFamily="34" charset="0"/>
                        </a:rPr>
                        <a:t>EGY</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Egypt</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57415700"/>
                  </a:ext>
                </a:extLst>
              </a:tr>
              <a:tr h="187121">
                <a:tc>
                  <a:txBody>
                    <a:bodyPr/>
                    <a:lstStyle/>
                    <a:p>
                      <a:pPr algn="l" fontAlgn="b"/>
                      <a:r>
                        <a:rPr lang="en-US" sz="1100" b="0" i="0" u="none" strike="noStrike">
                          <a:solidFill>
                            <a:srgbClr val="000000"/>
                          </a:solidFill>
                          <a:effectLst/>
                          <a:latin typeface="Calibri" panose="020F0502020204030204" pitchFamily="34" charset="0"/>
                        </a:rPr>
                        <a:t>ER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Eritre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45514761"/>
                  </a:ext>
                </a:extLst>
              </a:tr>
              <a:tr h="187121">
                <a:tc>
                  <a:txBody>
                    <a:bodyPr/>
                    <a:lstStyle/>
                    <a:p>
                      <a:pPr algn="l" fontAlgn="b"/>
                      <a:r>
                        <a:rPr lang="en-US" sz="1100" b="0" i="0" u="none" strike="noStrike">
                          <a:solidFill>
                            <a:srgbClr val="000000"/>
                          </a:solidFill>
                          <a:effectLst/>
                          <a:latin typeface="Calibri" panose="020F0502020204030204" pitchFamily="34" charset="0"/>
                        </a:rPr>
                        <a:t>ETH</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Ethiop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5756680"/>
                  </a:ext>
                </a:extLst>
              </a:tr>
              <a:tr h="187121">
                <a:tc>
                  <a:txBody>
                    <a:bodyPr/>
                    <a:lstStyle/>
                    <a:p>
                      <a:pPr algn="l" fontAlgn="b"/>
                      <a:r>
                        <a:rPr lang="en-US" sz="1100" b="0" i="0" u="none" strike="noStrike">
                          <a:solidFill>
                            <a:srgbClr val="000000"/>
                          </a:solidFill>
                          <a:effectLst/>
                          <a:latin typeface="Calibri" panose="020F0502020204030204" pitchFamily="34" charset="0"/>
                        </a:rPr>
                        <a:t>FJ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Fij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4050537"/>
                  </a:ext>
                </a:extLst>
              </a:tr>
              <a:tr h="187121">
                <a:tc>
                  <a:txBody>
                    <a:bodyPr/>
                    <a:lstStyle/>
                    <a:p>
                      <a:pPr algn="l" fontAlgn="b"/>
                      <a:r>
                        <a:rPr lang="en-US" sz="1100" b="0" i="0" u="none" strike="noStrike">
                          <a:solidFill>
                            <a:srgbClr val="000000"/>
                          </a:solidFill>
                          <a:effectLst/>
                          <a:latin typeface="Calibri" panose="020F0502020204030204" pitchFamily="34" charset="0"/>
                        </a:rPr>
                        <a:t>FSM</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icrones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89508978"/>
                  </a:ext>
                </a:extLst>
              </a:tr>
              <a:tr h="187121">
                <a:tc>
                  <a:txBody>
                    <a:bodyPr/>
                    <a:lstStyle/>
                    <a:p>
                      <a:pPr algn="l" fontAlgn="b"/>
                      <a:r>
                        <a:rPr lang="en-US" sz="1100" b="0" i="0" u="none" strike="noStrike">
                          <a:solidFill>
                            <a:srgbClr val="000000"/>
                          </a:solidFill>
                          <a:effectLst/>
                          <a:latin typeface="Calibri" panose="020F0502020204030204" pitchFamily="34" charset="0"/>
                        </a:rPr>
                        <a:t>GH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Ghan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73514737"/>
                  </a:ext>
                </a:extLst>
              </a:tr>
              <a:tr h="187121">
                <a:tc>
                  <a:txBody>
                    <a:bodyPr/>
                    <a:lstStyle/>
                    <a:p>
                      <a:pPr algn="l" fontAlgn="b"/>
                      <a:r>
                        <a:rPr lang="en-US" sz="1100" b="0" i="0" u="none" strike="noStrike">
                          <a:solidFill>
                            <a:srgbClr val="000000"/>
                          </a:solidFill>
                          <a:effectLst/>
                          <a:latin typeface="Calibri" panose="020F0502020204030204" pitchFamily="34" charset="0"/>
                        </a:rPr>
                        <a:t>GI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Guine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5297233"/>
                  </a:ext>
                </a:extLst>
              </a:tr>
            </a:tbl>
          </a:graphicData>
        </a:graphic>
      </p:graphicFrame>
      <p:graphicFrame>
        <p:nvGraphicFramePr>
          <p:cNvPr id="11" name="Table 11">
            <a:extLst>
              <a:ext uri="{FF2B5EF4-FFF2-40B4-BE49-F238E27FC236}">
                <a16:creationId xmlns:a16="http://schemas.microsoft.com/office/drawing/2014/main" id="{1D81319C-0005-6D27-9DF0-C9B1553A9BDD}"/>
              </a:ext>
            </a:extLst>
          </p:cNvPr>
          <p:cNvGraphicFramePr>
            <a:graphicFrameLocks noGrp="1"/>
          </p:cNvGraphicFramePr>
          <p:nvPr>
            <p:extLst>
              <p:ext uri="{D42A27DB-BD31-4B8C-83A1-F6EECF244321}">
                <p14:modId xmlns:p14="http://schemas.microsoft.com/office/powerpoint/2010/main" val="3024090958"/>
              </p:ext>
            </p:extLst>
          </p:nvPr>
        </p:nvGraphicFramePr>
        <p:xfrm>
          <a:off x="3467469" y="963928"/>
          <a:ext cx="2344328" cy="5268360"/>
        </p:xfrm>
        <a:graphic>
          <a:graphicData uri="http://schemas.openxmlformats.org/drawingml/2006/table">
            <a:tbl>
              <a:tblPr firstRow="1" bandRow="1">
                <a:tableStyleId>{2D5ABB26-0587-4C30-8999-92F81FD0307C}</a:tableStyleId>
              </a:tblPr>
              <a:tblGrid>
                <a:gridCol w="837646">
                  <a:extLst>
                    <a:ext uri="{9D8B030D-6E8A-4147-A177-3AD203B41FA5}">
                      <a16:colId xmlns:a16="http://schemas.microsoft.com/office/drawing/2014/main" val="3652347298"/>
                    </a:ext>
                  </a:extLst>
                </a:gridCol>
                <a:gridCol w="1506682">
                  <a:extLst>
                    <a:ext uri="{9D8B030D-6E8A-4147-A177-3AD203B41FA5}">
                      <a16:colId xmlns:a16="http://schemas.microsoft.com/office/drawing/2014/main" val="1733877350"/>
                    </a:ext>
                  </a:extLst>
                </a:gridCol>
              </a:tblGrid>
              <a:tr h="316854">
                <a:tc>
                  <a:txBody>
                    <a:bodyPr/>
                    <a:lstStyle/>
                    <a:p>
                      <a:r>
                        <a:rPr lang="en-GB" sz="1400" b="1" u="none"/>
                        <a:t>Code</a:t>
                      </a:r>
                    </a:p>
                  </a:txBody>
                  <a:tcPr marL="36000" marR="36000" marT="36000" marB="108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1400" b="1" i="0" u="none" kern="1200">
                          <a:solidFill>
                            <a:schemeClr val="tx1"/>
                          </a:solidFill>
                          <a:effectLst/>
                          <a:latin typeface="+mn-lt"/>
                          <a:ea typeface="+mn-ea"/>
                          <a:cs typeface="+mn-cs"/>
                        </a:rPr>
                        <a:t>Country name</a:t>
                      </a:r>
                    </a:p>
                  </a:txBody>
                  <a:tcPr marL="36000" marR="36000" marT="36000" marB="108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7669411"/>
                  </a:ext>
                </a:extLst>
              </a:tr>
              <a:tr h="180558">
                <a:tc>
                  <a:txBody>
                    <a:bodyPr/>
                    <a:lstStyle/>
                    <a:p>
                      <a:pPr algn="l" fontAlgn="b"/>
                      <a:r>
                        <a:rPr lang="en-US" sz="1100" b="0" i="0" u="none" strike="noStrike">
                          <a:solidFill>
                            <a:srgbClr val="000000"/>
                          </a:solidFill>
                          <a:effectLst/>
                          <a:latin typeface="Calibri" panose="020F0502020204030204" pitchFamily="34" charset="0"/>
                        </a:rPr>
                        <a:t>GMB</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Gamb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5364923"/>
                  </a:ext>
                </a:extLst>
              </a:tr>
              <a:tr h="180558">
                <a:tc>
                  <a:txBody>
                    <a:bodyPr/>
                    <a:lstStyle/>
                    <a:p>
                      <a:pPr algn="l" fontAlgn="b"/>
                      <a:r>
                        <a:rPr lang="en-US" sz="1100" b="0" i="0" u="none" strike="noStrike">
                          <a:solidFill>
                            <a:srgbClr val="000000"/>
                          </a:solidFill>
                          <a:effectLst/>
                          <a:latin typeface="Calibri" panose="020F0502020204030204" pitchFamily="34" charset="0"/>
                        </a:rPr>
                        <a:t>GNB</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Guinea-Bissau</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03512146"/>
                  </a:ext>
                </a:extLst>
              </a:tr>
              <a:tr h="180558">
                <a:tc>
                  <a:txBody>
                    <a:bodyPr/>
                    <a:lstStyle/>
                    <a:p>
                      <a:pPr algn="l" fontAlgn="b"/>
                      <a:r>
                        <a:rPr lang="en-US" sz="1100" b="0" i="0" u="none" strike="noStrike">
                          <a:solidFill>
                            <a:srgbClr val="000000"/>
                          </a:solidFill>
                          <a:effectLst/>
                          <a:latin typeface="Calibri" panose="020F0502020204030204" pitchFamily="34" charset="0"/>
                        </a:rPr>
                        <a:t>GRD</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Grenad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0159672"/>
                  </a:ext>
                </a:extLst>
              </a:tr>
              <a:tr h="180558">
                <a:tc>
                  <a:txBody>
                    <a:bodyPr/>
                    <a:lstStyle/>
                    <a:p>
                      <a:pPr algn="l" fontAlgn="b"/>
                      <a:r>
                        <a:rPr lang="en-US" sz="1100" b="0" i="0" u="none" strike="noStrike">
                          <a:solidFill>
                            <a:srgbClr val="000000"/>
                          </a:solidFill>
                          <a:effectLst/>
                          <a:latin typeface="Calibri" panose="020F0502020204030204" pitchFamily="34" charset="0"/>
                        </a:rPr>
                        <a:t>GUY</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Guyan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3613053"/>
                  </a:ext>
                </a:extLst>
              </a:tr>
              <a:tr h="180558">
                <a:tc>
                  <a:txBody>
                    <a:bodyPr/>
                    <a:lstStyle/>
                    <a:p>
                      <a:pPr algn="l" fontAlgn="b"/>
                      <a:r>
                        <a:rPr lang="en-US" sz="1100" b="0" i="0" u="none" strike="noStrike">
                          <a:solidFill>
                            <a:srgbClr val="000000"/>
                          </a:solidFill>
                          <a:effectLst/>
                          <a:latin typeface="Calibri" panose="020F0502020204030204" pitchFamily="34" charset="0"/>
                        </a:rPr>
                        <a:t>HND</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Honduras</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2345302"/>
                  </a:ext>
                </a:extLst>
              </a:tr>
              <a:tr h="180558">
                <a:tc>
                  <a:txBody>
                    <a:bodyPr/>
                    <a:lstStyle/>
                    <a:p>
                      <a:pPr algn="l" fontAlgn="b"/>
                      <a:r>
                        <a:rPr lang="en-US" sz="1100" b="0" i="0" u="none" strike="noStrike">
                          <a:solidFill>
                            <a:srgbClr val="000000"/>
                          </a:solidFill>
                          <a:effectLst/>
                          <a:latin typeface="Calibri" panose="020F0502020204030204" pitchFamily="34" charset="0"/>
                        </a:rPr>
                        <a:t>HT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Hait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5552932"/>
                  </a:ext>
                </a:extLst>
              </a:tr>
              <a:tr h="174174">
                <a:tc>
                  <a:txBody>
                    <a:bodyPr/>
                    <a:lstStyle/>
                    <a:p>
                      <a:pPr algn="l" fontAlgn="b"/>
                      <a:r>
                        <a:rPr lang="en-US" sz="1100" b="0" i="0" u="none" strike="noStrike">
                          <a:solidFill>
                            <a:srgbClr val="000000"/>
                          </a:solidFill>
                          <a:effectLst/>
                          <a:latin typeface="Calibri" panose="020F0502020204030204" pitchFamily="34" charset="0"/>
                        </a:rPr>
                        <a:t>ID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Indones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93227765"/>
                  </a:ext>
                </a:extLst>
              </a:tr>
              <a:tr h="174174">
                <a:tc>
                  <a:txBody>
                    <a:bodyPr/>
                    <a:lstStyle/>
                    <a:p>
                      <a:pPr algn="l" fontAlgn="b"/>
                      <a:r>
                        <a:rPr lang="en-US" sz="1100" b="0" i="0" u="none" strike="noStrike">
                          <a:solidFill>
                            <a:srgbClr val="000000"/>
                          </a:solidFill>
                          <a:effectLst/>
                          <a:latin typeface="Calibri" panose="020F0502020204030204" pitchFamily="34" charset="0"/>
                        </a:rPr>
                        <a:t>IND</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Ind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54885963"/>
                  </a:ext>
                </a:extLst>
              </a:tr>
              <a:tr h="174174">
                <a:tc>
                  <a:txBody>
                    <a:bodyPr/>
                    <a:lstStyle/>
                    <a:p>
                      <a:pPr algn="l" fontAlgn="b"/>
                      <a:r>
                        <a:rPr lang="en-US" sz="1100" b="0" i="0" u="none" strike="noStrike">
                          <a:solidFill>
                            <a:srgbClr val="000000"/>
                          </a:solidFill>
                          <a:effectLst/>
                          <a:latin typeface="Calibri" panose="020F0502020204030204" pitchFamily="34" charset="0"/>
                        </a:rPr>
                        <a:t>KE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Keny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19258092"/>
                  </a:ext>
                </a:extLst>
              </a:tr>
              <a:tr h="174174">
                <a:tc>
                  <a:txBody>
                    <a:bodyPr/>
                    <a:lstStyle/>
                    <a:p>
                      <a:pPr algn="l" fontAlgn="b"/>
                      <a:r>
                        <a:rPr lang="en-US" sz="1100" b="0" i="0" u="none" strike="noStrike">
                          <a:solidFill>
                            <a:srgbClr val="000000"/>
                          </a:solidFill>
                          <a:effectLst/>
                          <a:latin typeface="Calibri" panose="020F0502020204030204" pitchFamily="34" charset="0"/>
                        </a:rPr>
                        <a:t>KGZ</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Kyrgyzsta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03683867"/>
                  </a:ext>
                </a:extLst>
              </a:tr>
              <a:tr h="174174">
                <a:tc>
                  <a:txBody>
                    <a:bodyPr/>
                    <a:lstStyle/>
                    <a:p>
                      <a:pPr algn="l" fontAlgn="b"/>
                      <a:r>
                        <a:rPr lang="en-US" sz="1100" b="0" i="0" u="none" strike="noStrike">
                          <a:solidFill>
                            <a:srgbClr val="000000"/>
                          </a:solidFill>
                          <a:effectLst/>
                          <a:latin typeface="Calibri" panose="020F0502020204030204" pitchFamily="34" charset="0"/>
                        </a:rPr>
                        <a:t>KHM</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ambod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1459235"/>
                  </a:ext>
                </a:extLst>
              </a:tr>
              <a:tr h="174174">
                <a:tc>
                  <a:txBody>
                    <a:bodyPr/>
                    <a:lstStyle/>
                    <a:p>
                      <a:pPr algn="l" fontAlgn="b"/>
                      <a:r>
                        <a:rPr lang="en-US" sz="1100" b="0" i="0" u="none" strike="noStrike">
                          <a:solidFill>
                            <a:srgbClr val="000000"/>
                          </a:solidFill>
                          <a:effectLst/>
                          <a:latin typeface="Calibri" panose="020F0502020204030204" pitchFamily="34" charset="0"/>
                        </a:rPr>
                        <a:t>KI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Kiribat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467682"/>
                  </a:ext>
                </a:extLst>
              </a:tr>
              <a:tr h="174174">
                <a:tc>
                  <a:txBody>
                    <a:bodyPr/>
                    <a:lstStyle/>
                    <a:p>
                      <a:pPr algn="l" fontAlgn="b"/>
                      <a:r>
                        <a:rPr lang="en-US" sz="1100" b="0" i="0" u="none" strike="noStrike">
                          <a:solidFill>
                            <a:srgbClr val="000000"/>
                          </a:solidFill>
                          <a:effectLst/>
                          <a:latin typeface="Calibri" panose="020F0502020204030204" pitchFamily="34" charset="0"/>
                        </a:rPr>
                        <a:t>LA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Laos</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9332358"/>
                  </a:ext>
                </a:extLst>
              </a:tr>
              <a:tr h="174174">
                <a:tc>
                  <a:txBody>
                    <a:bodyPr/>
                    <a:lstStyle/>
                    <a:p>
                      <a:pPr algn="l" fontAlgn="b"/>
                      <a:r>
                        <a:rPr lang="en-US" sz="1100" b="0" i="0" u="none" strike="noStrike">
                          <a:solidFill>
                            <a:srgbClr val="000000"/>
                          </a:solidFill>
                          <a:effectLst/>
                          <a:latin typeface="Calibri" panose="020F0502020204030204" pitchFamily="34" charset="0"/>
                        </a:rPr>
                        <a:t>LB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Liber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4812935"/>
                  </a:ext>
                </a:extLst>
              </a:tr>
              <a:tr h="174174">
                <a:tc>
                  <a:txBody>
                    <a:bodyPr/>
                    <a:lstStyle/>
                    <a:p>
                      <a:pPr algn="l" fontAlgn="b"/>
                      <a:r>
                        <a:rPr lang="en-US" sz="1100" b="0" i="0" u="none" strike="noStrike">
                          <a:solidFill>
                            <a:srgbClr val="000000"/>
                          </a:solidFill>
                          <a:effectLst/>
                          <a:latin typeface="Calibri" panose="020F0502020204030204" pitchFamily="34" charset="0"/>
                        </a:rPr>
                        <a:t>LC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aint Luc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66789183"/>
                  </a:ext>
                </a:extLst>
              </a:tr>
              <a:tr h="174174">
                <a:tc>
                  <a:txBody>
                    <a:bodyPr/>
                    <a:lstStyle/>
                    <a:p>
                      <a:pPr algn="l" fontAlgn="b"/>
                      <a:r>
                        <a:rPr lang="en-US" sz="1100" b="0" i="0" u="none" strike="noStrike">
                          <a:solidFill>
                            <a:srgbClr val="000000"/>
                          </a:solidFill>
                          <a:effectLst/>
                          <a:latin typeface="Calibri" panose="020F0502020204030204" pitchFamily="34" charset="0"/>
                        </a:rPr>
                        <a:t>LK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ri Lank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6748943"/>
                  </a:ext>
                </a:extLst>
              </a:tr>
              <a:tr h="174174">
                <a:tc>
                  <a:txBody>
                    <a:bodyPr/>
                    <a:lstStyle/>
                    <a:p>
                      <a:pPr algn="l" fontAlgn="b"/>
                      <a:r>
                        <a:rPr lang="en-US" sz="1100" b="0" i="0" u="none" strike="noStrike">
                          <a:solidFill>
                            <a:srgbClr val="000000"/>
                          </a:solidFill>
                          <a:effectLst/>
                          <a:latin typeface="Calibri" panose="020F0502020204030204" pitchFamily="34" charset="0"/>
                        </a:rPr>
                        <a:t>LS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Lesoth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4772511"/>
                  </a:ext>
                </a:extLst>
              </a:tr>
              <a:tr h="174174">
                <a:tc>
                  <a:txBody>
                    <a:bodyPr/>
                    <a:lstStyle/>
                    <a:p>
                      <a:pPr algn="l" fontAlgn="b"/>
                      <a:r>
                        <a:rPr lang="en-US" sz="1100" b="0" i="0" u="none" strike="noStrike">
                          <a:solidFill>
                            <a:srgbClr val="000000"/>
                          </a:solidFill>
                          <a:effectLst/>
                          <a:latin typeface="Calibri" panose="020F0502020204030204" pitchFamily="34" charset="0"/>
                        </a:rPr>
                        <a:t>MA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orocc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67739263"/>
                  </a:ext>
                </a:extLst>
              </a:tr>
              <a:tr h="174174">
                <a:tc>
                  <a:txBody>
                    <a:bodyPr/>
                    <a:lstStyle/>
                    <a:p>
                      <a:pPr algn="l" fontAlgn="b"/>
                      <a:r>
                        <a:rPr lang="en-US" sz="1100" b="0" i="0" u="none" strike="noStrike">
                          <a:solidFill>
                            <a:srgbClr val="000000"/>
                          </a:solidFill>
                          <a:effectLst/>
                          <a:latin typeface="Calibri" panose="020F0502020204030204" pitchFamily="34" charset="0"/>
                        </a:rPr>
                        <a:t>MD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Republic of Moldov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57415700"/>
                  </a:ext>
                </a:extLst>
              </a:tr>
              <a:tr h="174174">
                <a:tc>
                  <a:txBody>
                    <a:bodyPr/>
                    <a:lstStyle/>
                    <a:p>
                      <a:pPr algn="l" fontAlgn="b"/>
                      <a:r>
                        <a:rPr lang="en-US" sz="1100" b="0" i="0" u="none" strike="noStrike">
                          <a:solidFill>
                            <a:srgbClr val="000000"/>
                          </a:solidFill>
                          <a:effectLst/>
                          <a:latin typeface="Calibri" panose="020F0502020204030204" pitchFamily="34" charset="0"/>
                        </a:rPr>
                        <a:t>MDG</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adagasca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45514761"/>
                  </a:ext>
                </a:extLst>
              </a:tr>
              <a:tr h="174174">
                <a:tc>
                  <a:txBody>
                    <a:bodyPr/>
                    <a:lstStyle/>
                    <a:p>
                      <a:pPr algn="l" fontAlgn="b"/>
                      <a:r>
                        <a:rPr lang="en-US" sz="1100" b="0" i="0" u="none" strike="noStrike">
                          <a:solidFill>
                            <a:srgbClr val="000000"/>
                          </a:solidFill>
                          <a:effectLst/>
                          <a:latin typeface="Calibri" panose="020F0502020204030204" pitchFamily="34" charset="0"/>
                        </a:rPr>
                        <a:t>MDV</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aldives</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5756680"/>
                  </a:ext>
                </a:extLst>
              </a:tr>
              <a:tr h="174174">
                <a:tc>
                  <a:txBody>
                    <a:bodyPr/>
                    <a:lstStyle/>
                    <a:p>
                      <a:pPr algn="l" fontAlgn="b"/>
                      <a:r>
                        <a:rPr lang="en-US" sz="1100" b="0" i="0" u="none" strike="noStrike">
                          <a:solidFill>
                            <a:srgbClr val="000000"/>
                          </a:solidFill>
                          <a:effectLst/>
                          <a:latin typeface="Calibri" panose="020F0502020204030204" pitchFamily="34" charset="0"/>
                        </a:rPr>
                        <a:t>MHL</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arshall Islands</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4050537"/>
                  </a:ext>
                </a:extLst>
              </a:tr>
              <a:tr h="174174">
                <a:tc>
                  <a:txBody>
                    <a:bodyPr/>
                    <a:lstStyle/>
                    <a:p>
                      <a:pPr algn="l" fontAlgn="b"/>
                      <a:r>
                        <a:rPr lang="en-US" sz="1100" b="0" i="0" u="none" strike="noStrike">
                          <a:solidFill>
                            <a:srgbClr val="000000"/>
                          </a:solidFill>
                          <a:effectLst/>
                          <a:latin typeface="Calibri" panose="020F0502020204030204" pitchFamily="34" charset="0"/>
                        </a:rPr>
                        <a:t>ML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al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89508978"/>
                  </a:ext>
                </a:extLst>
              </a:tr>
              <a:tr h="174174">
                <a:tc>
                  <a:txBody>
                    <a:bodyPr/>
                    <a:lstStyle/>
                    <a:p>
                      <a:pPr algn="l" fontAlgn="b"/>
                      <a:r>
                        <a:rPr lang="en-US" sz="1100" b="0" i="0" u="none" strike="noStrike">
                          <a:solidFill>
                            <a:srgbClr val="000000"/>
                          </a:solidFill>
                          <a:effectLst/>
                          <a:latin typeface="Calibri" panose="020F0502020204030204" pitchFamily="34" charset="0"/>
                        </a:rPr>
                        <a:t>MM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yanma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73514737"/>
                  </a:ext>
                </a:extLst>
              </a:tr>
              <a:tr h="174174">
                <a:tc>
                  <a:txBody>
                    <a:bodyPr/>
                    <a:lstStyle/>
                    <a:p>
                      <a:pPr algn="l" fontAlgn="b"/>
                      <a:r>
                        <a:rPr lang="en-US" sz="1100" b="0" i="0" u="none" strike="noStrike">
                          <a:solidFill>
                            <a:srgbClr val="000000"/>
                          </a:solidFill>
                          <a:effectLst/>
                          <a:latin typeface="Calibri" panose="020F0502020204030204" pitchFamily="34" charset="0"/>
                        </a:rPr>
                        <a:t>MNG</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ongol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5297233"/>
                  </a:ext>
                </a:extLst>
              </a:tr>
            </a:tbl>
          </a:graphicData>
        </a:graphic>
      </p:graphicFrame>
      <p:graphicFrame>
        <p:nvGraphicFramePr>
          <p:cNvPr id="16" name="Table 11">
            <a:extLst>
              <a:ext uri="{FF2B5EF4-FFF2-40B4-BE49-F238E27FC236}">
                <a16:creationId xmlns:a16="http://schemas.microsoft.com/office/drawing/2014/main" id="{AEAA48E7-3641-910C-BF56-0859B98C6D9B}"/>
              </a:ext>
            </a:extLst>
          </p:cNvPr>
          <p:cNvGraphicFramePr>
            <a:graphicFrameLocks noGrp="1"/>
          </p:cNvGraphicFramePr>
          <p:nvPr>
            <p:extLst>
              <p:ext uri="{D42A27DB-BD31-4B8C-83A1-F6EECF244321}">
                <p14:modId xmlns:p14="http://schemas.microsoft.com/office/powerpoint/2010/main" val="1887008117"/>
              </p:ext>
            </p:extLst>
          </p:nvPr>
        </p:nvGraphicFramePr>
        <p:xfrm>
          <a:off x="6380202" y="963928"/>
          <a:ext cx="2344328" cy="5268360"/>
        </p:xfrm>
        <a:graphic>
          <a:graphicData uri="http://schemas.openxmlformats.org/drawingml/2006/table">
            <a:tbl>
              <a:tblPr firstRow="1" bandRow="1">
                <a:tableStyleId>{2D5ABB26-0587-4C30-8999-92F81FD0307C}</a:tableStyleId>
              </a:tblPr>
              <a:tblGrid>
                <a:gridCol w="837646">
                  <a:extLst>
                    <a:ext uri="{9D8B030D-6E8A-4147-A177-3AD203B41FA5}">
                      <a16:colId xmlns:a16="http://schemas.microsoft.com/office/drawing/2014/main" val="3652347298"/>
                    </a:ext>
                  </a:extLst>
                </a:gridCol>
                <a:gridCol w="1506682">
                  <a:extLst>
                    <a:ext uri="{9D8B030D-6E8A-4147-A177-3AD203B41FA5}">
                      <a16:colId xmlns:a16="http://schemas.microsoft.com/office/drawing/2014/main" val="1733877350"/>
                    </a:ext>
                  </a:extLst>
                </a:gridCol>
              </a:tblGrid>
              <a:tr h="316854">
                <a:tc>
                  <a:txBody>
                    <a:bodyPr/>
                    <a:lstStyle/>
                    <a:p>
                      <a:r>
                        <a:rPr lang="en-GB" sz="1400" b="1" u="none"/>
                        <a:t>Code</a:t>
                      </a:r>
                    </a:p>
                  </a:txBody>
                  <a:tcPr marL="36000" marR="36000" marT="36000" marB="108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1400" b="1" i="0" u="none" kern="1200">
                          <a:solidFill>
                            <a:schemeClr val="tx1"/>
                          </a:solidFill>
                          <a:effectLst/>
                          <a:latin typeface="+mn-lt"/>
                          <a:ea typeface="+mn-ea"/>
                          <a:cs typeface="+mn-cs"/>
                        </a:rPr>
                        <a:t>Country name</a:t>
                      </a:r>
                    </a:p>
                  </a:txBody>
                  <a:tcPr marL="36000" marR="36000" marT="36000" marB="108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7669411"/>
                  </a:ext>
                </a:extLst>
              </a:tr>
              <a:tr h="180558">
                <a:tc>
                  <a:txBody>
                    <a:bodyPr/>
                    <a:lstStyle/>
                    <a:p>
                      <a:pPr algn="l" fontAlgn="b"/>
                      <a:r>
                        <a:rPr lang="en-US" sz="1100" b="0" i="0" u="none" strike="noStrike">
                          <a:solidFill>
                            <a:srgbClr val="000000"/>
                          </a:solidFill>
                          <a:effectLst/>
                          <a:latin typeface="Calibri" panose="020F0502020204030204" pitchFamily="34" charset="0"/>
                        </a:rPr>
                        <a:t>MOZ</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ozambiqu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5364923"/>
                  </a:ext>
                </a:extLst>
              </a:tr>
              <a:tr h="180558">
                <a:tc>
                  <a:txBody>
                    <a:bodyPr/>
                    <a:lstStyle/>
                    <a:p>
                      <a:pPr algn="l" fontAlgn="b"/>
                      <a:r>
                        <a:rPr lang="en-US" sz="1100" b="0" i="0" u="none" strike="noStrike">
                          <a:solidFill>
                            <a:srgbClr val="000000"/>
                          </a:solidFill>
                          <a:effectLst/>
                          <a:latin typeface="Calibri" panose="020F0502020204030204" pitchFamily="34" charset="0"/>
                        </a:rPr>
                        <a:t>MRT</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auritan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03512146"/>
                  </a:ext>
                </a:extLst>
              </a:tr>
              <a:tr h="180558">
                <a:tc>
                  <a:txBody>
                    <a:bodyPr/>
                    <a:lstStyle/>
                    <a:p>
                      <a:pPr algn="l" fontAlgn="b"/>
                      <a:r>
                        <a:rPr lang="en-US" sz="1100" b="0" i="0" u="none" strike="noStrike">
                          <a:solidFill>
                            <a:srgbClr val="000000"/>
                          </a:solidFill>
                          <a:effectLst/>
                          <a:latin typeface="Calibri" panose="020F0502020204030204" pitchFamily="34" charset="0"/>
                        </a:rPr>
                        <a:t>MW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alaw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0159672"/>
                  </a:ext>
                </a:extLst>
              </a:tr>
              <a:tr h="180558">
                <a:tc>
                  <a:txBody>
                    <a:bodyPr/>
                    <a:lstStyle/>
                    <a:p>
                      <a:pPr algn="l" fontAlgn="b"/>
                      <a:r>
                        <a:rPr lang="en-US" sz="1100" b="0" i="0" u="none" strike="noStrike">
                          <a:solidFill>
                            <a:srgbClr val="000000"/>
                          </a:solidFill>
                          <a:effectLst/>
                          <a:latin typeface="Calibri" panose="020F0502020204030204" pitchFamily="34" charset="0"/>
                        </a:rPr>
                        <a:t>NE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Nige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3613053"/>
                  </a:ext>
                </a:extLst>
              </a:tr>
              <a:tr h="180558">
                <a:tc>
                  <a:txBody>
                    <a:bodyPr/>
                    <a:lstStyle/>
                    <a:p>
                      <a:pPr algn="l" fontAlgn="b"/>
                      <a:r>
                        <a:rPr lang="en-US" sz="1100" b="0" i="0" u="none" strike="noStrike">
                          <a:solidFill>
                            <a:srgbClr val="000000"/>
                          </a:solidFill>
                          <a:effectLst/>
                          <a:latin typeface="Calibri" panose="020F0502020204030204" pitchFamily="34" charset="0"/>
                        </a:rPr>
                        <a:t>NG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Niger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2345302"/>
                  </a:ext>
                </a:extLst>
              </a:tr>
              <a:tr h="180558">
                <a:tc>
                  <a:txBody>
                    <a:bodyPr/>
                    <a:lstStyle/>
                    <a:p>
                      <a:pPr algn="l" fontAlgn="b"/>
                      <a:r>
                        <a:rPr lang="en-US" sz="1100" b="0" i="0" u="none" strike="noStrike">
                          <a:solidFill>
                            <a:srgbClr val="000000"/>
                          </a:solidFill>
                          <a:effectLst/>
                          <a:latin typeface="Calibri" panose="020F0502020204030204" pitchFamily="34" charset="0"/>
                        </a:rPr>
                        <a:t>NIC</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Nicaragu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5552932"/>
                  </a:ext>
                </a:extLst>
              </a:tr>
              <a:tr h="174174">
                <a:tc>
                  <a:txBody>
                    <a:bodyPr/>
                    <a:lstStyle/>
                    <a:p>
                      <a:pPr algn="l" fontAlgn="b"/>
                      <a:r>
                        <a:rPr lang="en-US" sz="1100" b="0" i="0" u="none" strike="noStrike">
                          <a:solidFill>
                            <a:srgbClr val="000000"/>
                          </a:solidFill>
                          <a:effectLst/>
                          <a:latin typeface="Calibri" panose="020F0502020204030204" pitchFamily="34" charset="0"/>
                        </a:rPr>
                        <a:t>NPL</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Nepal</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93227765"/>
                  </a:ext>
                </a:extLst>
              </a:tr>
              <a:tr h="174174">
                <a:tc>
                  <a:txBody>
                    <a:bodyPr/>
                    <a:lstStyle/>
                    <a:p>
                      <a:pPr algn="l" fontAlgn="b"/>
                      <a:r>
                        <a:rPr lang="en-US" sz="1100" b="0" i="0" u="none" strike="noStrike">
                          <a:solidFill>
                            <a:srgbClr val="000000"/>
                          </a:solidFill>
                          <a:effectLst/>
                          <a:latin typeface="Calibri" panose="020F0502020204030204" pitchFamily="34" charset="0"/>
                        </a:rPr>
                        <a:t>PAK</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akista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54885963"/>
                  </a:ext>
                </a:extLst>
              </a:tr>
              <a:tr h="174174">
                <a:tc>
                  <a:txBody>
                    <a:bodyPr/>
                    <a:lstStyle/>
                    <a:p>
                      <a:pPr algn="l" fontAlgn="b"/>
                      <a:r>
                        <a:rPr lang="en-US" sz="1100" b="0" i="0" u="none" strike="noStrike">
                          <a:solidFill>
                            <a:srgbClr val="000000"/>
                          </a:solidFill>
                          <a:effectLst/>
                          <a:latin typeface="Calibri" panose="020F0502020204030204" pitchFamily="34" charset="0"/>
                        </a:rPr>
                        <a:t>PHL</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hilippines</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19258092"/>
                  </a:ext>
                </a:extLst>
              </a:tr>
              <a:tr h="174174">
                <a:tc>
                  <a:txBody>
                    <a:bodyPr/>
                    <a:lstStyle/>
                    <a:p>
                      <a:pPr algn="l" fontAlgn="b"/>
                      <a:r>
                        <a:rPr lang="en-US" sz="1100" b="0" i="0" u="none" strike="noStrike">
                          <a:solidFill>
                            <a:srgbClr val="000000"/>
                          </a:solidFill>
                          <a:effectLst/>
                          <a:latin typeface="Calibri" panose="020F0502020204030204" pitchFamily="34" charset="0"/>
                        </a:rPr>
                        <a:t>PNG</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apua New Guine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03683867"/>
                  </a:ext>
                </a:extLst>
              </a:tr>
              <a:tr h="174174">
                <a:tc>
                  <a:txBody>
                    <a:bodyPr/>
                    <a:lstStyle/>
                    <a:p>
                      <a:pPr algn="l" fontAlgn="b"/>
                      <a:r>
                        <a:rPr lang="en-US" sz="1100" b="0" i="0" u="none" strike="noStrike">
                          <a:solidFill>
                            <a:srgbClr val="000000"/>
                          </a:solidFill>
                          <a:effectLst/>
                          <a:latin typeface="Calibri" panose="020F0502020204030204" pitchFamily="34" charset="0"/>
                        </a:rPr>
                        <a:t>PRK</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err="1">
                          <a:solidFill>
                            <a:srgbClr val="000000"/>
                          </a:solidFill>
                          <a:effectLst/>
                          <a:latin typeface="Calibri" panose="020F0502020204030204" pitchFamily="34" charset="0"/>
                        </a:rPr>
                        <a:t>DPRKorea</a:t>
                      </a:r>
                      <a:endParaRPr lang="en-US" sz="1100" b="0" i="0" u="none" strike="noStrike">
                        <a:solidFill>
                          <a:srgbClr val="000000"/>
                        </a:solidFill>
                        <a:effectLst/>
                        <a:latin typeface="Calibri" panose="020F0502020204030204" pitchFamily="34" charset="0"/>
                      </a:endParaRP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1459235"/>
                  </a:ext>
                </a:extLst>
              </a:tr>
              <a:tr h="174174">
                <a:tc>
                  <a:txBody>
                    <a:bodyPr/>
                    <a:lstStyle/>
                    <a:p>
                      <a:pPr algn="l" fontAlgn="b"/>
                      <a:r>
                        <a:rPr lang="en-US" sz="1100" b="0" i="0" u="none" strike="noStrike">
                          <a:solidFill>
                            <a:srgbClr val="000000"/>
                          </a:solidFill>
                          <a:effectLst/>
                          <a:latin typeface="Calibri" panose="020F0502020204030204" pitchFamily="34" charset="0"/>
                        </a:rPr>
                        <a:t>PS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West Bank and Gaz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467682"/>
                  </a:ext>
                </a:extLst>
              </a:tr>
              <a:tr h="174174">
                <a:tc>
                  <a:txBody>
                    <a:bodyPr/>
                    <a:lstStyle/>
                    <a:p>
                      <a:pPr algn="l" fontAlgn="b"/>
                      <a:r>
                        <a:rPr lang="en-US" sz="1100" b="0" i="0" u="none" strike="noStrike">
                          <a:solidFill>
                            <a:srgbClr val="000000"/>
                          </a:solidFill>
                          <a:effectLst/>
                          <a:latin typeface="Calibri" panose="020F0502020204030204" pitchFamily="34" charset="0"/>
                        </a:rPr>
                        <a:t>RW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Rwand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9332358"/>
                  </a:ext>
                </a:extLst>
              </a:tr>
              <a:tr h="174174">
                <a:tc>
                  <a:txBody>
                    <a:bodyPr/>
                    <a:lstStyle/>
                    <a:p>
                      <a:pPr algn="l" fontAlgn="b"/>
                      <a:r>
                        <a:rPr lang="en-US" sz="1100" b="0" i="0" u="none" strike="noStrike">
                          <a:solidFill>
                            <a:srgbClr val="000000"/>
                          </a:solidFill>
                          <a:effectLst/>
                          <a:latin typeface="Calibri" panose="020F0502020204030204" pitchFamily="34" charset="0"/>
                        </a:rPr>
                        <a:t>SD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uda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4812935"/>
                  </a:ext>
                </a:extLst>
              </a:tr>
              <a:tr h="174174">
                <a:tc>
                  <a:txBody>
                    <a:bodyPr/>
                    <a:lstStyle/>
                    <a:p>
                      <a:pPr algn="l" fontAlgn="b"/>
                      <a:r>
                        <a:rPr lang="en-US" sz="1100" b="0" i="0" u="none" strike="noStrike">
                          <a:solidFill>
                            <a:srgbClr val="000000"/>
                          </a:solidFill>
                          <a:effectLst/>
                          <a:latin typeface="Calibri" panose="020F0502020204030204" pitchFamily="34" charset="0"/>
                        </a:rPr>
                        <a:t>SE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enegal</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66789183"/>
                  </a:ext>
                </a:extLst>
              </a:tr>
              <a:tr h="174174">
                <a:tc>
                  <a:txBody>
                    <a:bodyPr/>
                    <a:lstStyle/>
                    <a:p>
                      <a:pPr algn="l" fontAlgn="b"/>
                      <a:r>
                        <a:rPr lang="en-US" sz="1100" b="0" i="0" u="none" strike="noStrike">
                          <a:solidFill>
                            <a:srgbClr val="000000"/>
                          </a:solidFill>
                          <a:effectLst/>
                          <a:latin typeface="Calibri" panose="020F0502020204030204" pitchFamily="34" charset="0"/>
                        </a:rPr>
                        <a:t>SLB</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olomon Islands</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6748943"/>
                  </a:ext>
                </a:extLst>
              </a:tr>
              <a:tr h="174174">
                <a:tc>
                  <a:txBody>
                    <a:bodyPr/>
                    <a:lstStyle/>
                    <a:p>
                      <a:pPr algn="l" fontAlgn="b"/>
                      <a:r>
                        <a:rPr lang="en-US" sz="1100" b="0" i="0" u="none" strike="noStrike">
                          <a:solidFill>
                            <a:srgbClr val="000000"/>
                          </a:solidFill>
                          <a:effectLst/>
                          <a:latin typeface="Calibri" panose="020F0502020204030204" pitchFamily="34" charset="0"/>
                        </a:rPr>
                        <a:t>SL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ierra Leon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4772511"/>
                  </a:ext>
                </a:extLst>
              </a:tr>
              <a:tr h="174174">
                <a:tc>
                  <a:txBody>
                    <a:bodyPr/>
                    <a:lstStyle/>
                    <a:p>
                      <a:pPr algn="l" fontAlgn="b"/>
                      <a:r>
                        <a:rPr lang="en-US" sz="1100" b="0" i="0" u="none" strike="noStrike">
                          <a:solidFill>
                            <a:srgbClr val="000000"/>
                          </a:solidFill>
                          <a:effectLst/>
                          <a:latin typeface="Calibri" panose="020F0502020204030204" pitchFamily="34" charset="0"/>
                        </a:rPr>
                        <a:t>SLV</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El Salvado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67739263"/>
                  </a:ext>
                </a:extLst>
              </a:tr>
              <a:tr h="174174">
                <a:tc>
                  <a:txBody>
                    <a:bodyPr/>
                    <a:lstStyle/>
                    <a:p>
                      <a:pPr algn="l" fontAlgn="b"/>
                      <a:r>
                        <a:rPr lang="en-US" sz="1100" b="0" i="0" u="none" strike="noStrike">
                          <a:solidFill>
                            <a:srgbClr val="000000"/>
                          </a:solidFill>
                          <a:effectLst/>
                          <a:latin typeface="Calibri" panose="020F0502020204030204" pitchFamily="34" charset="0"/>
                        </a:rPr>
                        <a:t>SOM</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omal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57415700"/>
                  </a:ext>
                </a:extLst>
              </a:tr>
              <a:tr h="174174">
                <a:tc>
                  <a:txBody>
                    <a:bodyPr/>
                    <a:lstStyle/>
                    <a:p>
                      <a:pPr algn="l" fontAlgn="b"/>
                      <a:r>
                        <a:rPr lang="en-US" sz="1100" b="0" i="0" u="none" strike="noStrike">
                          <a:solidFill>
                            <a:srgbClr val="000000"/>
                          </a:solidFill>
                          <a:effectLst/>
                          <a:latin typeface="Calibri" panose="020F0502020204030204" pitchFamily="34" charset="0"/>
                        </a:rPr>
                        <a:t>SSD</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outh Suda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45514761"/>
                  </a:ext>
                </a:extLst>
              </a:tr>
              <a:tr h="174174">
                <a:tc>
                  <a:txBody>
                    <a:bodyPr/>
                    <a:lstStyle/>
                    <a:p>
                      <a:pPr algn="l" fontAlgn="b"/>
                      <a:r>
                        <a:rPr lang="en-US" sz="1100" b="0" i="0" u="none" strike="noStrike">
                          <a:solidFill>
                            <a:srgbClr val="000000"/>
                          </a:solidFill>
                          <a:effectLst/>
                          <a:latin typeface="Calibri" panose="020F0502020204030204" pitchFamily="34" charset="0"/>
                        </a:rPr>
                        <a:t>STP</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ao Tome &amp; Princip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5756680"/>
                  </a:ext>
                </a:extLst>
              </a:tr>
              <a:tr h="174174">
                <a:tc>
                  <a:txBody>
                    <a:bodyPr/>
                    <a:lstStyle/>
                    <a:p>
                      <a:pPr algn="l" fontAlgn="b"/>
                      <a:r>
                        <a:rPr lang="en-US" sz="1100" b="0" i="0" u="none" strike="noStrike">
                          <a:solidFill>
                            <a:srgbClr val="000000"/>
                          </a:solidFill>
                          <a:effectLst/>
                          <a:latin typeface="Calibri" panose="020F0502020204030204" pitchFamily="34" charset="0"/>
                        </a:rPr>
                        <a:t>SWZ</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Eswatini</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4050537"/>
                  </a:ext>
                </a:extLst>
              </a:tr>
              <a:tr h="174174">
                <a:tc>
                  <a:txBody>
                    <a:bodyPr/>
                    <a:lstStyle/>
                    <a:p>
                      <a:pPr algn="l" fontAlgn="b"/>
                      <a:r>
                        <a:rPr lang="en-US" sz="1100" b="0" i="0" u="none" strike="noStrike">
                          <a:solidFill>
                            <a:srgbClr val="000000"/>
                          </a:solidFill>
                          <a:effectLst/>
                          <a:latin typeface="Calibri" panose="020F0502020204030204" pitchFamily="34" charset="0"/>
                        </a:rPr>
                        <a:t>SY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yr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89508978"/>
                  </a:ext>
                </a:extLst>
              </a:tr>
              <a:tr h="174174">
                <a:tc>
                  <a:txBody>
                    <a:bodyPr/>
                    <a:lstStyle/>
                    <a:p>
                      <a:pPr algn="l" fontAlgn="b"/>
                      <a:r>
                        <a:rPr lang="en-US" sz="1100" b="0" i="0" u="none" strike="noStrike">
                          <a:solidFill>
                            <a:srgbClr val="000000"/>
                          </a:solidFill>
                          <a:effectLst/>
                          <a:latin typeface="Calibri" panose="020F0502020204030204" pitchFamily="34" charset="0"/>
                        </a:rPr>
                        <a:t>TCD</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had</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73514737"/>
                  </a:ext>
                </a:extLst>
              </a:tr>
              <a:tr h="174174">
                <a:tc>
                  <a:txBody>
                    <a:bodyPr/>
                    <a:lstStyle/>
                    <a:p>
                      <a:pPr algn="l" fontAlgn="b"/>
                      <a:r>
                        <a:rPr lang="en-US" sz="1100" b="0" i="0" u="none" strike="noStrike">
                          <a:solidFill>
                            <a:srgbClr val="000000"/>
                          </a:solidFill>
                          <a:effectLst/>
                          <a:latin typeface="Calibri" panose="020F0502020204030204" pitchFamily="34" charset="0"/>
                        </a:rPr>
                        <a:t>TG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Tog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5297233"/>
                  </a:ext>
                </a:extLst>
              </a:tr>
            </a:tbl>
          </a:graphicData>
        </a:graphic>
      </p:graphicFrame>
      <p:graphicFrame>
        <p:nvGraphicFramePr>
          <p:cNvPr id="17" name="Table 11">
            <a:extLst>
              <a:ext uri="{FF2B5EF4-FFF2-40B4-BE49-F238E27FC236}">
                <a16:creationId xmlns:a16="http://schemas.microsoft.com/office/drawing/2014/main" id="{FAB55831-196A-9EDA-5486-3B205AEB0083}"/>
              </a:ext>
            </a:extLst>
          </p:cNvPr>
          <p:cNvGraphicFramePr>
            <a:graphicFrameLocks noGrp="1"/>
          </p:cNvGraphicFramePr>
          <p:nvPr>
            <p:extLst>
              <p:ext uri="{D42A27DB-BD31-4B8C-83A1-F6EECF244321}">
                <p14:modId xmlns:p14="http://schemas.microsoft.com/office/powerpoint/2010/main" val="1638207226"/>
              </p:ext>
            </p:extLst>
          </p:nvPr>
        </p:nvGraphicFramePr>
        <p:xfrm>
          <a:off x="9292936" y="963928"/>
          <a:ext cx="2070807" cy="3864480"/>
        </p:xfrm>
        <a:graphic>
          <a:graphicData uri="http://schemas.openxmlformats.org/drawingml/2006/table">
            <a:tbl>
              <a:tblPr firstRow="1" bandRow="1">
                <a:tableStyleId>{2D5ABB26-0587-4C30-8999-92F81FD0307C}</a:tableStyleId>
              </a:tblPr>
              <a:tblGrid>
                <a:gridCol w="564125">
                  <a:extLst>
                    <a:ext uri="{9D8B030D-6E8A-4147-A177-3AD203B41FA5}">
                      <a16:colId xmlns:a16="http://schemas.microsoft.com/office/drawing/2014/main" val="3652347298"/>
                    </a:ext>
                  </a:extLst>
                </a:gridCol>
                <a:gridCol w="1506682">
                  <a:extLst>
                    <a:ext uri="{9D8B030D-6E8A-4147-A177-3AD203B41FA5}">
                      <a16:colId xmlns:a16="http://schemas.microsoft.com/office/drawing/2014/main" val="1733877350"/>
                    </a:ext>
                  </a:extLst>
                </a:gridCol>
              </a:tblGrid>
              <a:tr h="316854">
                <a:tc>
                  <a:txBody>
                    <a:bodyPr/>
                    <a:lstStyle/>
                    <a:p>
                      <a:r>
                        <a:rPr lang="en-GB" sz="1400" b="1" u="none"/>
                        <a:t>Code</a:t>
                      </a:r>
                    </a:p>
                  </a:txBody>
                  <a:tcPr marL="36000" marR="36000" marT="36000" marB="108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1400" b="1" i="0" u="none" kern="1200">
                          <a:solidFill>
                            <a:schemeClr val="tx1"/>
                          </a:solidFill>
                          <a:effectLst/>
                          <a:latin typeface="+mn-lt"/>
                          <a:ea typeface="+mn-ea"/>
                          <a:cs typeface="+mn-cs"/>
                        </a:rPr>
                        <a:t>Country name</a:t>
                      </a:r>
                    </a:p>
                  </a:txBody>
                  <a:tcPr marL="36000" marR="36000" marT="36000" marB="108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7669411"/>
                  </a:ext>
                </a:extLst>
              </a:tr>
              <a:tr h="180558">
                <a:tc>
                  <a:txBody>
                    <a:bodyPr/>
                    <a:lstStyle/>
                    <a:p>
                      <a:pPr algn="l" fontAlgn="b"/>
                      <a:r>
                        <a:rPr lang="en-US" sz="1100" b="0" i="0" u="none" strike="noStrike">
                          <a:solidFill>
                            <a:srgbClr val="000000"/>
                          </a:solidFill>
                          <a:effectLst/>
                          <a:latin typeface="Calibri" panose="020F0502020204030204" pitchFamily="34" charset="0"/>
                        </a:rPr>
                        <a:t>TJK</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Tajikista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5364923"/>
                  </a:ext>
                </a:extLst>
              </a:tr>
              <a:tr h="180558">
                <a:tc>
                  <a:txBody>
                    <a:bodyPr/>
                    <a:lstStyle/>
                    <a:p>
                      <a:pPr algn="l" fontAlgn="b"/>
                      <a:r>
                        <a:rPr lang="en-US" sz="1100" b="0" i="0" u="none" strike="noStrike">
                          <a:solidFill>
                            <a:srgbClr val="000000"/>
                          </a:solidFill>
                          <a:effectLst/>
                          <a:latin typeface="Calibri" panose="020F0502020204030204" pitchFamily="34" charset="0"/>
                        </a:rPr>
                        <a:t>TLS</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Timor-Lest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03512146"/>
                  </a:ext>
                </a:extLst>
              </a:tr>
              <a:tr h="180558">
                <a:tc>
                  <a:txBody>
                    <a:bodyPr/>
                    <a:lstStyle/>
                    <a:p>
                      <a:pPr algn="l" fontAlgn="b"/>
                      <a:r>
                        <a:rPr lang="en-US" sz="1100" b="0" i="0" u="none" strike="noStrike">
                          <a:solidFill>
                            <a:srgbClr val="000000"/>
                          </a:solidFill>
                          <a:effectLst/>
                          <a:latin typeface="Calibri" panose="020F0502020204030204" pitchFamily="34" charset="0"/>
                        </a:rPr>
                        <a:t>TO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Tong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0159672"/>
                  </a:ext>
                </a:extLst>
              </a:tr>
              <a:tr h="180558">
                <a:tc>
                  <a:txBody>
                    <a:bodyPr/>
                    <a:lstStyle/>
                    <a:p>
                      <a:pPr algn="l" fontAlgn="b"/>
                      <a:r>
                        <a:rPr lang="en-US" sz="1100" b="0" i="0" u="none" strike="noStrike">
                          <a:solidFill>
                            <a:srgbClr val="000000"/>
                          </a:solidFill>
                          <a:effectLst/>
                          <a:latin typeface="Calibri" panose="020F0502020204030204" pitchFamily="34" charset="0"/>
                        </a:rPr>
                        <a:t>TU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Tunis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3613053"/>
                  </a:ext>
                </a:extLst>
              </a:tr>
              <a:tr h="180558">
                <a:tc>
                  <a:txBody>
                    <a:bodyPr/>
                    <a:lstStyle/>
                    <a:p>
                      <a:pPr algn="l" fontAlgn="b"/>
                      <a:r>
                        <a:rPr lang="en-US" sz="1100" b="0" i="0" u="none" strike="noStrike">
                          <a:solidFill>
                            <a:srgbClr val="000000"/>
                          </a:solidFill>
                          <a:effectLst/>
                          <a:latin typeface="Calibri" panose="020F0502020204030204" pitchFamily="34" charset="0"/>
                        </a:rPr>
                        <a:t>TUV</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Tuvalu</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2345302"/>
                  </a:ext>
                </a:extLst>
              </a:tr>
              <a:tr h="180558">
                <a:tc>
                  <a:txBody>
                    <a:bodyPr/>
                    <a:lstStyle/>
                    <a:p>
                      <a:pPr algn="l" fontAlgn="b"/>
                      <a:r>
                        <a:rPr lang="en-US" sz="1100" b="0" i="0" u="none" strike="noStrike">
                          <a:solidFill>
                            <a:srgbClr val="000000"/>
                          </a:solidFill>
                          <a:effectLst/>
                          <a:latin typeface="Calibri" panose="020F0502020204030204" pitchFamily="34" charset="0"/>
                        </a:rPr>
                        <a:t>TZ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Tanzan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5552932"/>
                  </a:ext>
                </a:extLst>
              </a:tr>
              <a:tr h="174174">
                <a:tc>
                  <a:txBody>
                    <a:bodyPr/>
                    <a:lstStyle/>
                    <a:p>
                      <a:pPr algn="l" fontAlgn="b"/>
                      <a:r>
                        <a:rPr lang="en-US" sz="1100" b="0" i="0" u="none" strike="noStrike">
                          <a:solidFill>
                            <a:srgbClr val="000000"/>
                          </a:solidFill>
                          <a:effectLst/>
                          <a:latin typeface="Calibri" panose="020F0502020204030204" pitchFamily="34" charset="0"/>
                        </a:rPr>
                        <a:t>UG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Ugand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93227765"/>
                  </a:ext>
                </a:extLst>
              </a:tr>
              <a:tr h="174174">
                <a:tc>
                  <a:txBody>
                    <a:bodyPr/>
                    <a:lstStyle/>
                    <a:p>
                      <a:pPr algn="l" fontAlgn="b"/>
                      <a:r>
                        <a:rPr lang="en-US" sz="1100" b="0" i="0" u="none" strike="noStrike">
                          <a:solidFill>
                            <a:srgbClr val="000000"/>
                          </a:solidFill>
                          <a:effectLst/>
                          <a:latin typeface="Calibri" panose="020F0502020204030204" pitchFamily="34" charset="0"/>
                        </a:rPr>
                        <a:t>UKR</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Ukrain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54885963"/>
                  </a:ext>
                </a:extLst>
              </a:tr>
              <a:tr h="174174">
                <a:tc>
                  <a:txBody>
                    <a:bodyPr/>
                    <a:lstStyle/>
                    <a:p>
                      <a:pPr algn="l" fontAlgn="b"/>
                      <a:r>
                        <a:rPr lang="en-US" sz="1100" b="0" i="0" u="none" strike="noStrike">
                          <a:solidFill>
                            <a:srgbClr val="000000"/>
                          </a:solidFill>
                          <a:effectLst/>
                          <a:latin typeface="Calibri" panose="020F0502020204030204" pitchFamily="34" charset="0"/>
                        </a:rPr>
                        <a:t>UZB</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Uzbekista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19258092"/>
                  </a:ext>
                </a:extLst>
              </a:tr>
              <a:tr h="174174">
                <a:tc>
                  <a:txBody>
                    <a:bodyPr/>
                    <a:lstStyle/>
                    <a:p>
                      <a:pPr algn="l" fontAlgn="b"/>
                      <a:r>
                        <a:rPr lang="en-US" sz="1100" b="0" i="0" u="none" strike="noStrike">
                          <a:solidFill>
                            <a:srgbClr val="000000"/>
                          </a:solidFill>
                          <a:effectLst/>
                          <a:latin typeface="Calibri" panose="020F0502020204030204" pitchFamily="34" charset="0"/>
                        </a:rPr>
                        <a:t>VCT</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aint Vincent &amp; The Grenadines</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03683867"/>
                  </a:ext>
                </a:extLst>
              </a:tr>
              <a:tr h="174174">
                <a:tc>
                  <a:txBody>
                    <a:bodyPr/>
                    <a:lstStyle/>
                    <a:p>
                      <a:pPr algn="l" fontAlgn="b"/>
                      <a:r>
                        <a:rPr lang="en-US" sz="1100" b="0" i="0" u="none" strike="noStrike">
                          <a:solidFill>
                            <a:srgbClr val="000000"/>
                          </a:solidFill>
                          <a:effectLst/>
                          <a:latin typeface="Calibri" panose="020F0502020204030204" pitchFamily="34" charset="0"/>
                        </a:rPr>
                        <a:t>VNM</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err="1">
                          <a:solidFill>
                            <a:srgbClr val="000000"/>
                          </a:solidFill>
                          <a:effectLst/>
                          <a:latin typeface="Calibri" panose="020F0502020204030204" pitchFamily="34" charset="0"/>
                        </a:rPr>
                        <a:t>VietNam</a:t>
                      </a:r>
                      <a:endParaRPr lang="en-US" sz="1100" b="0" i="0" u="none" strike="noStrike">
                        <a:solidFill>
                          <a:srgbClr val="000000"/>
                        </a:solidFill>
                        <a:effectLst/>
                        <a:latin typeface="Calibri" panose="020F0502020204030204" pitchFamily="34" charset="0"/>
                      </a:endParaRP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1459235"/>
                  </a:ext>
                </a:extLst>
              </a:tr>
              <a:tr h="174174">
                <a:tc>
                  <a:txBody>
                    <a:bodyPr/>
                    <a:lstStyle/>
                    <a:p>
                      <a:pPr algn="l" fontAlgn="b"/>
                      <a:r>
                        <a:rPr lang="en-US" sz="1100" b="0" i="0" u="none" strike="noStrike">
                          <a:solidFill>
                            <a:srgbClr val="000000"/>
                          </a:solidFill>
                          <a:effectLst/>
                          <a:latin typeface="Calibri" panose="020F0502020204030204" pitchFamily="34" charset="0"/>
                        </a:rPr>
                        <a:t>VUT</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Vanuatu</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467682"/>
                  </a:ext>
                </a:extLst>
              </a:tr>
              <a:tr h="174174">
                <a:tc>
                  <a:txBody>
                    <a:bodyPr/>
                    <a:lstStyle/>
                    <a:p>
                      <a:pPr algn="l" fontAlgn="b"/>
                      <a:r>
                        <a:rPr lang="en-US" sz="1100" b="0" i="0" u="none" strike="noStrike">
                          <a:solidFill>
                            <a:srgbClr val="000000"/>
                          </a:solidFill>
                          <a:effectLst/>
                          <a:latin typeface="Calibri" panose="020F0502020204030204" pitchFamily="34" charset="0"/>
                        </a:rPr>
                        <a:t>WSM</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amo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9332358"/>
                  </a:ext>
                </a:extLst>
              </a:tr>
              <a:tr h="174174">
                <a:tc>
                  <a:txBody>
                    <a:bodyPr/>
                    <a:lstStyle/>
                    <a:p>
                      <a:pPr algn="l" fontAlgn="b"/>
                      <a:r>
                        <a:rPr lang="en-US" sz="1100" b="0" i="0" u="none" strike="noStrike">
                          <a:solidFill>
                            <a:srgbClr val="000000"/>
                          </a:solidFill>
                          <a:effectLst/>
                          <a:latin typeface="Calibri" panose="020F0502020204030204" pitchFamily="34" charset="0"/>
                        </a:rPr>
                        <a:t>XKX</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Kosovo</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4812935"/>
                  </a:ext>
                </a:extLst>
              </a:tr>
              <a:tr h="174174">
                <a:tc>
                  <a:txBody>
                    <a:bodyPr/>
                    <a:lstStyle/>
                    <a:p>
                      <a:pPr algn="l" fontAlgn="b"/>
                      <a:r>
                        <a:rPr lang="en-US" sz="1100" b="0" i="0" u="none" strike="noStrike">
                          <a:solidFill>
                            <a:srgbClr val="000000"/>
                          </a:solidFill>
                          <a:effectLst/>
                          <a:latin typeface="Calibri" panose="020F0502020204030204" pitchFamily="34" charset="0"/>
                        </a:rPr>
                        <a:t>YEM</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Yemen</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66789183"/>
                  </a:ext>
                </a:extLst>
              </a:tr>
              <a:tr h="174174">
                <a:tc>
                  <a:txBody>
                    <a:bodyPr/>
                    <a:lstStyle/>
                    <a:p>
                      <a:pPr algn="l" fontAlgn="b"/>
                      <a:r>
                        <a:rPr lang="en-US" sz="1100" b="0" i="0" u="none" strike="noStrike">
                          <a:solidFill>
                            <a:srgbClr val="000000"/>
                          </a:solidFill>
                          <a:effectLst/>
                          <a:latin typeface="Calibri" panose="020F0502020204030204" pitchFamily="34" charset="0"/>
                        </a:rPr>
                        <a:t>ZMB</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Zambia</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6748943"/>
                  </a:ext>
                </a:extLst>
              </a:tr>
              <a:tr h="174174">
                <a:tc>
                  <a:txBody>
                    <a:bodyPr/>
                    <a:lstStyle/>
                    <a:p>
                      <a:pPr algn="l" fontAlgn="b"/>
                      <a:r>
                        <a:rPr lang="en-US" sz="1100" b="0" i="0" u="none" strike="noStrike">
                          <a:solidFill>
                            <a:srgbClr val="000000"/>
                          </a:solidFill>
                          <a:effectLst/>
                          <a:latin typeface="Calibri" panose="020F0502020204030204" pitchFamily="34" charset="0"/>
                        </a:rPr>
                        <a:t>ZW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Zimbabwe</a:t>
                      </a:r>
                    </a:p>
                  </a:txBody>
                  <a:tcPr marL="36000" marR="36000" marT="14400" marB="144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4772511"/>
                  </a:ext>
                </a:extLst>
              </a:tr>
            </a:tbl>
          </a:graphicData>
        </a:graphic>
      </p:graphicFrame>
    </p:spTree>
    <p:extLst>
      <p:ext uri="{BB962C8B-B14F-4D97-AF65-F5344CB8AC3E}">
        <p14:creationId xmlns:p14="http://schemas.microsoft.com/office/powerpoint/2010/main" val="279282537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5AFFEC-E323-4E4A-A5B1-C5FF1EF412FB}"/>
              </a:ext>
            </a:extLst>
          </p:cNvPr>
          <p:cNvGraphicFramePr>
            <a:graphicFrameLocks noChangeAspect="1"/>
          </p:cNvGraphicFramePr>
          <p:nvPr>
            <p:custDataLst>
              <p:tags r:id="rId1"/>
            </p:custDataLst>
            <p:extLst>
              <p:ext uri="{D42A27DB-BD31-4B8C-83A1-F6EECF244321}">
                <p14:modId xmlns:p14="http://schemas.microsoft.com/office/powerpoint/2010/main" val="1513584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6" name="Object 5" hidden="1">
                        <a:extLst>
                          <a:ext uri="{FF2B5EF4-FFF2-40B4-BE49-F238E27FC236}">
                            <a16:creationId xmlns:a16="http://schemas.microsoft.com/office/drawing/2014/main" id="{E55AFFEC-E323-4E4A-A5B1-C5FF1EF412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5128F6-B050-450F-B92E-C95727C82DE6}"/>
              </a:ext>
            </a:extLst>
          </p:cNvPr>
          <p:cNvSpPr>
            <a:spLocks noGrp="1"/>
          </p:cNvSpPr>
          <p:nvPr>
            <p:ph type="title"/>
          </p:nvPr>
        </p:nvSpPr>
        <p:spPr>
          <a:xfrm>
            <a:off x="554736" y="197613"/>
            <a:ext cx="11082528" cy="369332"/>
          </a:xfrm>
        </p:spPr>
        <p:txBody>
          <a:bodyPr vert="horz"/>
          <a:lstStyle/>
          <a:p>
            <a:r>
              <a:rPr lang="en-GB" sz="2400"/>
              <a:t>Annex 2: Definitions</a:t>
            </a:r>
          </a:p>
        </p:txBody>
      </p:sp>
      <p:graphicFrame>
        <p:nvGraphicFramePr>
          <p:cNvPr id="11" name="Table 11">
            <a:extLst>
              <a:ext uri="{FF2B5EF4-FFF2-40B4-BE49-F238E27FC236}">
                <a16:creationId xmlns:a16="http://schemas.microsoft.com/office/drawing/2014/main" id="{49FEEAAB-5895-41FA-915D-C4D32131B76A}"/>
              </a:ext>
            </a:extLst>
          </p:cNvPr>
          <p:cNvGraphicFramePr>
            <a:graphicFrameLocks noGrp="1"/>
          </p:cNvGraphicFramePr>
          <p:nvPr>
            <p:extLst>
              <p:ext uri="{D42A27DB-BD31-4B8C-83A1-F6EECF244321}">
                <p14:modId xmlns:p14="http://schemas.microsoft.com/office/powerpoint/2010/main" val="3978366553"/>
              </p:ext>
            </p:extLst>
          </p:nvPr>
        </p:nvGraphicFramePr>
        <p:xfrm>
          <a:off x="554735" y="964214"/>
          <a:ext cx="11082528" cy="3138718"/>
        </p:xfrm>
        <a:graphic>
          <a:graphicData uri="http://schemas.openxmlformats.org/drawingml/2006/table">
            <a:tbl>
              <a:tblPr firstRow="1" bandRow="1">
                <a:tableStyleId>{2D5ABB26-0587-4C30-8999-92F81FD0307C}</a:tableStyleId>
              </a:tblPr>
              <a:tblGrid>
                <a:gridCol w="2230029">
                  <a:extLst>
                    <a:ext uri="{9D8B030D-6E8A-4147-A177-3AD203B41FA5}">
                      <a16:colId xmlns:a16="http://schemas.microsoft.com/office/drawing/2014/main" val="3652347298"/>
                    </a:ext>
                  </a:extLst>
                </a:gridCol>
                <a:gridCol w="8852499">
                  <a:extLst>
                    <a:ext uri="{9D8B030D-6E8A-4147-A177-3AD203B41FA5}">
                      <a16:colId xmlns:a16="http://schemas.microsoft.com/office/drawing/2014/main" val="1733877350"/>
                    </a:ext>
                  </a:extLst>
                </a:gridCol>
              </a:tblGrid>
              <a:tr h="234883">
                <a:tc>
                  <a:txBody>
                    <a:bodyPr/>
                    <a:lstStyle/>
                    <a:p>
                      <a:r>
                        <a:rPr lang="en-GB" sz="1400" b="1"/>
                        <a:t>Term</a:t>
                      </a:r>
                    </a:p>
                  </a:txBody>
                  <a:tcPr marL="36000" marR="3600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1400" b="1"/>
                        <a:t>Definition</a:t>
                      </a:r>
                    </a:p>
                  </a:txBody>
                  <a:tcPr marL="36000" marR="3600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79350654"/>
                  </a:ext>
                </a:extLst>
              </a:tr>
              <a:tr h="699144">
                <a:tc>
                  <a:txBody>
                    <a:bodyPr/>
                    <a:lstStyle/>
                    <a:p>
                      <a:r>
                        <a:rPr lang="en-GB" sz="1200" b="1" u="sng"/>
                        <a:t>Course:</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b="0" i="0" kern="1200">
                          <a:solidFill>
                            <a:schemeClr val="tx1"/>
                          </a:solidFill>
                          <a:effectLst/>
                          <a:latin typeface="+mn-lt"/>
                          <a:ea typeface="+mn-ea"/>
                          <a:cs typeface="+mn-cs"/>
                        </a:rPr>
                        <a:t>Number of doses required for a given product for its primary series (e.g. 2 doses of Pfizer BioNTech - Comirnaty)</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7669411"/>
                  </a:ext>
                </a:extLst>
              </a:tr>
              <a:tr h="586017">
                <a:tc>
                  <a:txBody>
                    <a:bodyPr/>
                    <a:lstStyle/>
                    <a:p>
                      <a:r>
                        <a:rPr lang="en-GB" sz="1200" b="1" u="sng"/>
                        <a:t>Population coverage:</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b="0" i="0" kern="1200">
                          <a:solidFill>
                            <a:schemeClr val="tx1"/>
                          </a:solidFill>
                          <a:effectLst/>
                          <a:latin typeface="+mn-lt"/>
                          <a:ea typeface="+mn-ea"/>
                          <a:cs typeface="+mn-cs"/>
                        </a:rPr>
                        <a:t>Percentage of total population fully vaccinated with </a:t>
                      </a:r>
                      <a:r>
                        <a:rPr lang="en-US" sz="1100" b="0" i="1" u="sng" kern="1200">
                          <a:solidFill>
                            <a:schemeClr val="tx1"/>
                          </a:solidFill>
                          <a:effectLst/>
                          <a:latin typeface="+mn-lt"/>
                          <a:ea typeface="+mn-ea"/>
                          <a:cs typeface="+mn-cs"/>
                        </a:rPr>
                        <a:t>any COVID-19 vaccine product from any source</a:t>
                      </a:r>
                      <a:endParaRPr lang="en-US" sz="1100" b="0" i="0" kern="1200">
                        <a:solidFill>
                          <a:schemeClr val="tx1"/>
                        </a:solidFill>
                        <a:effectLst/>
                        <a:latin typeface="+mn-lt"/>
                        <a:ea typeface="+mn-ea"/>
                        <a:cs typeface="+mn-cs"/>
                      </a:endParaRP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5364923"/>
                  </a:ext>
                </a:extLst>
              </a:tr>
              <a:tr h="708964">
                <a:tc>
                  <a:txBody>
                    <a:bodyPr/>
                    <a:lstStyle/>
                    <a:p>
                      <a:r>
                        <a:rPr lang="en-GB" sz="1200" b="1" u="sng"/>
                        <a:t>Product utilization:</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b="0" i="0" kern="1200">
                          <a:solidFill>
                            <a:schemeClr val="tx1"/>
                          </a:solidFill>
                          <a:effectLst/>
                          <a:latin typeface="+mn-lt"/>
                          <a:ea typeface="+mn-ea"/>
                          <a:cs typeface="+mn-cs"/>
                        </a:rPr>
                        <a:t>Percentage of total doses of </a:t>
                      </a:r>
                      <a:r>
                        <a:rPr lang="en-US" sz="1100" b="0" i="1" u="sng" kern="1200">
                          <a:solidFill>
                            <a:schemeClr val="tx1"/>
                          </a:solidFill>
                          <a:effectLst/>
                          <a:latin typeface="+mn-lt"/>
                          <a:ea typeface="+mn-ea"/>
                          <a:cs typeface="+mn-cs"/>
                        </a:rPr>
                        <a:t>any COVID-19 vaccine product from any source</a:t>
                      </a:r>
                      <a:r>
                        <a:rPr lang="en-US" sz="1100" b="0" i="0" kern="1200">
                          <a:solidFill>
                            <a:schemeClr val="tx1"/>
                          </a:solidFill>
                          <a:effectLst/>
                          <a:latin typeface="+mn-lt"/>
                          <a:ea typeface="+mn-ea"/>
                          <a:cs typeface="+mn-cs"/>
                        </a:rPr>
                        <a:t> received that have been used</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0159672"/>
                  </a:ext>
                </a:extLst>
              </a:tr>
              <a:tr h="859233">
                <a:tc>
                  <a:txBody>
                    <a:bodyPr/>
                    <a:lstStyle/>
                    <a:p>
                      <a:r>
                        <a:rPr lang="en-GB" sz="1200" b="1" u="sng"/>
                        <a:t>Daily vaccination rate:</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b="0" i="0" kern="1200">
                          <a:solidFill>
                            <a:schemeClr val="tx1"/>
                          </a:solidFill>
                          <a:effectLst/>
                          <a:latin typeface="+mn-lt"/>
                          <a:ea typeface="+mn-ea"/>
                          <a:cs typeface="+mn-cs"/>
                        </a:rPr>
                        <a:t>Number of doses of </a:t>
                      </a:r>
                      <a:r>
                        <a:rPr lang="en-US" sz="1100" b="0" i="1" u="sng" kern="1200">
                          <a:solidFill>
                            <a:schemeClr val="tx1"/>
                          </a:solidFill>
                          <a:effectLst/>
                          <a:latin typeface="+mn-lt"/>
                          <a:ea typeface="+mn-ea"/>
                          <a:cs typeface="+mn-cs"/>
                        </a:rPr>
                        <a:t>any COVID-19 vaccine product from any source</a:t>
                      </a:r>
                      <a:r>
                        <a:rPr lang="en-US" sz="1100" b="0" i="0" kern="1200">
                          <a:solidFill>
                            <a:schemeClr val="tx1"/>
                          </a:solidFill>
                          <a:effectLst/>
                          <a:latin typeface="+mn-lt"/>
                          <a:ea typeface="+mn-ea"/>
                          <a:cs typeface="+mn-cs"/>
                        </a:rPr>
                        <a:t> administered per unit time as calculated by examining historical dose administration data</a:t>
                      </a:r>
                    </a:p>
                  </a:txBody>
                  <a:tcPr marT="108000" marB="180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3613053"/>
                  </a:ext>
                </a:extLst>
              </a:tr>
            </a:tbl>
          </a:graphicData>
        </a:graphic>
      </p:graphicFrame>
    </p:spTree>
    <p:extLst>
      <p:ext uri="{BB962C8B-B14F-4D97-AF65-F5344CB8AC3E}">
        <p14:creationId xmlns:p14="http://schemas.microsoft.com/office/powerpoint/2010/main" val="19332175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47830D4-82EE-46DB-983F-D9D1FA42E41B}"/>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40A30B06-A522-4FD7-95CB-5ED5FE619E81}"/>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119065E3-4DE5-49CF-8BC0-F819959A0A94}"/>
              </a:ext>
            </a:extLst>
          </p:cNvPr>
          <p:cNvSpPr>
            <a:spLocks noGrp="1"/>
          </p:cNvSpPr>
          <p:nvPr>
            <p:ph type="title"/>
          </p:nvPr>
        </p:nvSpPr>
        <p:spPr/>
        <p:txBody>
          <a:bodyPr/>
          <a:lstStyle/>
          <a:p>
            <a:endParaRPr lang="en-GB"/>
          </a:p>
        </p:txBody>
      </p:sp>
      <p:pic>
        <p:nvPicPr>
          <p:cNvPr id="6" name="Picture 5" title="CoVDP_IAI report_amc">
            <a:extLst>
              <a:ext uri="{FF2B5EF4-FFF2-40B4-BE49-F238E27FC236}">
                <a16:creationId xmlns:a16="http://schemas.microsoft.com/office/drawing/2014/main" id="{25A36590-A271-D834-8898-645635C4F31F}"/>
              </a:ext>
            </a:extLst>
          </p:cNvPr>
          <p:cNvPicPr>
            <a:picLocks noChangeAspect="1"/>
          </p:cNvPicPr>
          <p:nvPr>
            <p:custDataLst>
              <p:tags r:id="rId1"/>
            </p:custDataLst>
          </p:nvPr>
        </p:nvPicPr>
        <p:blipFill>
          <a:blip r:embed="rId3"/>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24409744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535F1D-3491-44F5-984E-71B691CE631D}"/>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679B4EBF-BA6C-4B2C-B0EB-63E05486E77A}"/>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94B986FA-4B28-4741-A2CE-D709534E0526}"/>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D4FDA188-B72A-94C0-322F-671DEC9EF674}"/>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5602742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78EE97-FDC4-422D-9700-F2638255B232}"/>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CF5F9CC9-2940-4753-9D64-BCFE918D6945}"/>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635CEBD9-A5BF-4BBD-B26D-E8D1B37D8880}"/>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E3A631BF-E6E6-DACA-DAEF-DD35E35FFA39}"/>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876173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850DFBA-DCC0-4FB4-9050-1FEA614B2C1F}"/>
              </a:ext>
            </a:extLst>
          </p:cNvPr>
          <p:cNvSpPr>
            <a:spLocks noGrp="1"/>
          </p:cNvSpPr>
          <p:nvPr>
            <p:ph type="body" sz="quarter" idx="14"/>
          </p:nvPr>
        </p:nvSpPr>
        <p:spPr/>
        <p:txBody>
          <a:bodyPr/>
          <a:lstStyle/>
          <a:p>
            <a:endParaRPr lang="en-GB"/>
          </a:p>
        </p:txBody>
      </p:sp>
      <p:sp>
        <p:nvSpPr>
          <p:cNvPr id="3" name="Text Placeholder 2">
            <a:extLst>
              <a:ext uri="{FF2B5EF4-FFF2-40B4-BE49-F238E27FC236}">
                <a16:creationId xmlns:a16="http://schemas.microsoft.com/office/drawing/2014/main" id="{A6ABB6AE-9FBD-4514-8232-534C35858730}"/>
              </a:ext>
            </a:extLst>
          </p:cNvPr>
          <p:cNvSpPr>
            <a:spLocks noGrp="1"/>
          </p:cNvSpPr>
          <p:nvPr>
            <p:ph type="body" sz="quarter" idx="19"/>
          </p:nvPr>
        </p:nvSpPr>
        <p:spPr/>
        <p:txBody>
          <a:bodyPr/>
          <a:lstStyle/>
          <a:p>
            <a:endParaRPr lang="en-GB"/>
          </a:p>
        </p:txBody>
      </p:sp>
      <p:sp>
        <p:nvSpPr>
          <p:cNvPr id="4" name="Title 3">
            <a:extLst>
              <a:ext uri="{FF2B5EF4-FFF2-40B4-BE49-F238E27FC236}">
                <a16:creationId xmlns:a16="http://schemas.microsoft.com/office/drawing/2014/main" id="{5792F3C3-5E2F-4320-BEF7-748C75B732C3}"/>
              </a:ext>
            </a:extLst>
          </p:cNvPr>
          <p:cNvSpPr>
            <a:spLocks noGrp="1"/>
          </p:cNvSpPr>
          <p:nvPr>
            <p:ph type="title"/>
          </p:nvPr>
        </p:nvSpPr>
        <p:spPr/>
        <p:txBody>
          <a:bodyPr/>
          <a:lstStyle/>
          <a:p>
            <a:endParaRPr lang="en-GB"/>
          </a:p>
        </p:txBody>
      </p:sp>
      <p:pic>
        <p:nvPicPr>
          <p:cNvPr id="7" name="Picture 6" title="CoVDP_IAI report_amc">
            <a:extLst>
              <a:ext uri="{FF2B5EF4-FFF2-40B4-BE49-F238E27FC236}">
                <a16:creationId xmlns:a16="http://schemas.microsoft.com/office/drawing/2014/main" id="{0202C652-75F9-5D55-69E4-CBC595B42E5A}"/>
              </a:ext>
            </a:extLst>
          </p:cNvPr>
          <p:cNvPicPr>
            <a:picLocks noChangeAspect="1"/>
          </p:cNvPicPr>
          <p:nvPr>
            <p:custDataLst>
              <p:tags r:id="rId1"/>
            </p:custDataLst>
          </p:nvPr>
        </p:nvPicPr>
        <p:blipFill>
          <a:blip r:embed="rId4"/>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13898882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PRESENTATIONDONOTDELETE" val="&lt;?xml version=&quot;1.0&quot; encoding=&quot;UTF-16&quot; standalone=&quot;yes&quot;?&gt;&lt;root reqver=&quot;25060&quot;&gt;&lt;version val=&quot;28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EMPLATELASTEDITED" val="2021-03-05 07:1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2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xml><?xml version="1.0" encoding="utf-8"?>
<p:tagLst xmlns:a="http://schemas.openxmlformats.org/drawingml/2006/main" xmlns:r="http://schemas.openxmlformats.org/officeDocument/2006/relationships" xmlns:p="http://schemas.openxmlformats.org/presentationml/2006/main">
  <p:tag name="NAME" val="ACET"/>
</p:tagLst>
</file>

<file path=ppt/tags/tag132.xml><?xml version="1.0" encoding="utf-8"?>
<p:tagLst xmlns:a="http://schemas.openxmlformats.org/drawingml/2006/main" xmlns:r="http://schemas.openxmlformats.org/officeDocument/2006/relationships" xmlns:p="http://schemas.openxmlformats.org/presentationml/2006/main">
  <p:tag name="NAME" val="Moon"/>
</p:tagLst>
</file>

<file path=ppt/tags/tag133.xml><?xml version="1.0" encoding="utf-8"?>
<p:tagLst xmlns:a="http://schemas.openxmlformats.org/drawingml/2006/main" xmlns:r="http://schemas.openxmlformats.org/officeDocument/2006/relationships" xmlns:p="http://schemas.openxmlformats.org/presentationml/2006/main">
  <p:tag name="NAME" val="Moon"/>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ANGLE" val="5"/>
</p:tagLst>
</file>

<file path=ppt/tags/tag138.xml><?xml version="1.0" encoding="utf-8"?>
<p:tagLst xmlns:a="http://schemas.openxmlformats.org/drawingml/2006/main" xmlns:r="http://schemas.openxmlformats.org/officeDocument/2006/relationships" xmlns:p="http://schemas.openxmlformats.org/presentationml/2006/main">
  <p:tag name="ANGLE" val="5"/>
</p:tagLst>
</file>

<file path=ppt/tags/tag139.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ANGLE" val="4"/>
</p:tagLst>
</file>

<file path=ppt/tags/tag141.xml><?xml version="1.0" encoding="utf-8"?>
<p:tagLst xmlns:a="http://schemas.openxmlformats.org/drawingml/2006/main" xmlns:r="http://schemas.openxmlformats.org/officeDocument/2006/relationships" xmlns:p="http://schemas.openxmlformats.org/presentationml/2006/main">
  <p:tag name="ANGLE" val="3"/>
</p:tagLst>
</file>

<file path=ppt/tags/tag142.xml><?xml version="1.0" encoding="utf-8"?>
<p:tagLst xmlns:a="http://schemas.openxmlformats.org/drawingml/2006/main" xmlns:r="http://schemas.openxmlformats.org/officeDocument/2006/relationships" xmlns:p="http://schemas.openxmlformats.org/presentationml/2006/main">
  <p:tag name="ANGLE" val="3"/>
</p:tagLst>
</file>

<file path=ppt/tags/tag143.xml><?xml version="1.0" encoding="utf-8"?>
<p:tagLst xmlns:a="http://schemas.openxmlformats.org/drawingml/2006/main" xmlns:r="http://schemas.openxmlformats.org/officeDocument/2006/relationships" xmlns:p="http://schemas.openxmlformats.org/presentationml/2006/main">
  <p:tag name="ANGLE" val="2"/>
</p:tagLst>
</file>

<file path=ppt/tags/tag144.xml><?xml version="1.0" encoding="utf-8"?>
<p:tagLst xmlns:a="http://schemas.openxmlformats.org/drawingml/2006/main" xmlns:r="http://schemas.openxmlformats.org/officeDocument/2006/relationships" xmlns:p="http://schemas.openxmlformats.org/presentationml/2006/main">
  <p:tag name="ANGLE" val="2"/>
</p:tagLst>
</file>

<file path=ppt/tags/tag145.xml><?xml version="1.0" encoding="utf-8"?>
<p:tagLst xmlns:a="http://schemas.openxmlformats.org/drawingml/2006/main" xmlns:r="http://schemas.openxmlformats.org/officeDocument/2006/relationships" xmlns:p="http://schemas.openxmlformats.org/presentationml/2006/main">
  <p:tag name="ANGLE" val="1"/>
</p:tagLst>
</file>

<file path=ppt/tags/tag146.xml><?xml version="1.0" encoding="utf-8"?>
<p:tagLst xmlns:a="http://schemas.openxmlformats.org/drawingml/2006/main" xmlns:r="http://schemas.openxmlformats.org/officeDocument/2006/relationships" xmlns:p="http://schemas.openxmlformats.org/presentationml/2006/main">
  <p:tag name="ANGLE" val="1"/>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Subtitle"/>
</p:tagLst>
</file>

<file path=ppt/tags/tag151.xml><?xml version="1.0" encoding="utf-8"?>
<p:tagLst xmlns:a="http://schemas.openxmlformats.org/drawingml/2006/main" xmlns:r="http://schemas.openxmlformats.org/officeDocument/2006/relationships" xmlns:p="http://schemas.openxmlformats.org/presentationml/2006/main">
  <p:tag name="SHAPENAME" val="Titl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xml><?xml version="1.0" encoding="utf-8"?>
<p:tagLst xmlns:a="http://schemas.openxmlformats.org/drawingml/2006/main" xmlns:r="http://schemas.openxmlformats.org/officeDocument/2006/relationships" xmlns:p="http://schemas.openxmlformats.org/presentationml/2006/main">
  <p:tag name="SHAPENAME" val="5. Source"/>
</p:tagLst>
</file>

<file path=ppt/tags/tag1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5. Sourc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242.xml><?xml version="1.0" encoding="utf-8"?>
<p:tagLst xmlns:a="http://schemas.openxmlformats.org/drawingml/2006/main" xmlns:r="http://schemas.openxmlformats.org/officeDocument/2006/relationships" xmlns:p="http://schemas.openxmlformats.org/presentationml/2006/main">
  <p:tag name="SLIDETYPE" val="TitleWhi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aXr8WAgv0cG5g7IkN2Kntg"/>
</p:tagLst>
</file>

<file path=ppt/tags/tag245.xml><?xml version="1.0" encoding="utf-8"?>
<p:tagLst xmlns:a="http://schemas.openxmlformats.org/drawingml/2006/main" xmlns:r="http://schemas.openxmlformats.org/officeDocument/2006/relationships" xmlns:p="http://schemas.openxmlformats.org/presentationml/2006/main">
  <p:tag name="SHAPENAME" val="Subtitle"/>
</p:tagLst>
</file>

<file path=ppt/tags/tag246.xml><?xml version="1.0" encoding="utf-8"?>
<p:tagLst xmlns:a="http://schemas.openxmlformats.org/drawingml/2006/main" xmlns:r="http://schemas.openxmlformats.org/officeDocument/2006/relationships" xmlns:p="http://schemas.openxmlformats.org/presentationml/2006/main">
  <p:tag name="SHAPENAME" val="Titl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DEVSCOPEPBISMARTSHAPES.TAG" val="{&quot;Id&quot;:&quot;63b5305851d3437b880a37a8d2e5a929&quot;,&quot;CaptureId&quot;:null,&quot;Name&quot;:&quot;CoVDP_IAI report_amc&quot;,&quot;Description&quot;:null,&quot;DoNotIncludeHyperlinkToPbi&quot;:true,&quot;PbiElement&quot;:{&quot;ElementType&quot;:3,&quot;Page&quot;:{&quot;Name&quot;:&quot;ReportSection7db40cf8fe7eb2abd520&quot;,&quot;DisplayName&quot;:&quot;a_sum_key&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true,&quot;AbsoluteWidthEnabled&quot;:true,&quot;AbsoluteHeight&quot;:900.0,&quot;AbsoluteWidth&quot;:1600.0,&quot;DelayBeforeRender&quot;:35000.0,&quot;DelayBeforeRenderEnabled&quot;:tru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52.xml><?xml version="1.0" encoding="utf-8"?>
<p:tagLst xmlns:a="http://schemas.openxmlformats.org/drawingml/2006/main" xmlns:r="http://schemas.openxmlformats.org/officeDocument/2006/relationships" xmlns:p="http://schemas.openxmlformats.org/presentationml/2006/main">
  <p:tag name="DEVSCOPEPBISMARTSHAPES.TAG" val="{&quot;Id&quot;:&quot;f7c117e4b0904b6fa05de862138757ac&quot;,&quot;CaptureId&quot;:null,&quot;Name&quot;:&quot;CoVDP_IAI report_amc&quot;,&quot;Description&quot;:null,&quot;DoNotIncludeHyperlinkToPbi&quot;:true,&quot;PbiElement&quot;:{&quot;ElementType&quot;:3,&quot;Page&quot;:{&quot;Name&quot;:&quot;ReportSection7571688c0fd67f6a82c7&quot;,&quot;DisplayName&quot;:&quot;a_sum_list_1&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53.xml><?xml version="1.0" encoding="utf-8"?>
<p:tagLst xmlns:a="http://schemas.openxmlformats.org/drawingml/2006/main" xmlns:r="http://schemas.openxmlformats.org/officeDocument/2006/relationships" xmlns:p="http://schemas.openxmlformats.org/presentationml/2006/main">
  <p:tag name="DEVSCOPEPBISMARTSHAPES.TAG" val="{&quot;Id&quot;:&quot;5fd3c329fa254f25aa7163e8a39deb15&quot;,&quot;CaptureId&quot;:null,&quot;Name&quot;:&quot;CoVDP_IAI report_amc&quot;,&quot;Description&quot;:null,&quot;DoNotIncludeHyperlinkToPbi&quot;:true,&quot;PbiElement&quot;:{&quot;ElementType&quot;:3,&quot;Page&quot;:{&quot;Name&quot;:&quot;ReportSection0948e412ba27f1082ce0&quot;,&quot;DisplayName&quot;:&quot;a_sum_list_2&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54.xml><?xml version="1.0" encoding="utf-8"?>
<p:tagLst xmlns:a="http://schemas.openxmlformats.org/drawingml/2006/main" xmlns:r="http://schemas.openxmlformats.org/officeDocument/2006/relationships" xmlns:p="http://schemas.openxmlformats.org/presentationml/2006/main">
  <p:tag name="DEVSCOPEPBISMARTSHAPES.TAG" val="{&quot;Id&quot;:&quot;8b769080870e490b8e01d946dde81113&quot;,&quot;CaptureId&quot;:null,&quot;Name&quot;:&quot;CoVDP_IAI report_amc&quot;,&quot;Description&quot;:null,&quot;DoNotIncludeHyperlinkToPbi&quot;:true,&quot;PbiElement&quot;:{&quot;ElementType&quot;:3,&quot;Page&quot;:{&quot;Name&quot;:&quot;ReportSection6ca464d1b6bc5966648f&quot;,&quot;DisplayName&quot;:&quot;a_sum_list_3&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55.xml><?xml version="1.0" encoding="utf-8"?>
<p:tagLst xmlns:a="http://schemas.openxmlformats.org/drawingml/2006/main" xmlns:r="http://schemas.openxmlformats.org/officeDocument/2006/relationships" xmlns:p="http://schemas.openxmlformats.org/presentationml/2006/main">
  <p:tag name="DEVSCOPEPBISMARTSHAPES.TAG" val="{&quot;Id&quot;:&quot;17f6fa5fdb8847cab92a1093fea5ed43&quot;,&quot;CaptureId&quot;:null,&quot;Name&quot;:&quot;CoVDP_IAI report_amc&quot;,&quot;Description&quot;:null,&quot;DoNotIncludeHyperlinkToPbi&quot;:true,&quot;PbiElement&quot;:{&quot;ElementType&quot;:3,&quot;Page&quot;:{&quot;Name&quot;:&quot;ReportSection7e3878268f291755d4d1&quot;,&quot;DisplayName&quot;:&quot;a_sum_comp_all&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56.xml><?xml version="1.0" encoding="utf-8"?>
<p:tagLst xmlns:a="http://schemas.openxmlformats.org/drawingml/2006/main" xmlns:r="http://schemas.openxmlformats.org/officeDocument/2006/relationships" xmlns:p="http://schemas.openxmlformats.org/presentationml/2006/main">
  <p:tag name="DEVSCOPEPBISMARTSHAPES.TAG" val="{&quot;Id&quot;:&quot;19bdeb58758b45aba9fc9bd2bda4d677&quot;,&quot;CaptureId&quot;:null,&quot;Name&quot;:&quot;CoVDP_IAI report_amc&quot;,&quot;Description&quot;:null,&quot;DoNotIncludeHyperlinkToPbi&quot;:true,&quot;PbiElement&quot;:{&quot;ElementType&quot;:3,&quot;Page&quot;:{&quot;Name&quot;:&quot;ReportSection42630ae6ea1fa679787c&quot;,&quot;DisplayName&quot;:&quot;a_sum_scatter&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57.xml><?xml version="1.0" encoding="utf-8"?>
<p:tagLst xmlns:a="http://schemas.openxmlformats.org/drawingml/2006/main" xmlns:r="http://schemas.openxmlformats.org/officeDocument/2006/relationships" xmlns:p="http://schemas.openxmlformats.org/presentationml/2006/main">
  <p:tag name="DEVSCOPEPBISMARTSHAPES.TAG" val="{&quot;Id&quot;:&quot;eba7f358a427480587016967fb84ec59&quot;,&quot;CaptureId&quot;:null,&quot;Name&quot;:&quot;CoVDP_IAI report_amc&quot;,&quot;Description&quot;:null,&quot;DoNotIncludeHyperlinkToPbi&quot;:true,&quot;PbiElement&quot;:{&quot;ElementType&quot;:3,&quot;Page&quot;:{&quot;Name&quot;:&quot;ReportSectionb41a314fe54b5f57191e&quot;,&quot;DisplayName&quot;:&quot;b_vr_iii_month&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DEVSCOPEPBISMARTSHAPES.TAG" val="{&quot;Id&quot;:&quot;200733b6566f48029634dce8554073a3&quot;,&quot;CaptureId&quot;:null,&quot;Name&quot;:&quot;CoVDP_IAI report_amc&quot;,&quot;Description&quot;:null,&quot;DoNotIncludeHyperlinkToPbi&quot;:true,&quot;PbiElement&quot;:{&quot;ElementType&quot;:3,&quot;Page&quot;:{&quot;Name&quot;:&quot;ReportSectionf125562a66ae0adf96b9&quot;,&quot;DisplayName&quot;:&quot;c_cov_i_overview&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DEVSCOPEPBISMARTSHAPES.TAG" val="{&quot;Id&quot;:&quot;f9fe6c3c0f2f4012918178a268bb9cd3&quot;,&quot;CaptureId&quot;:null,&quot;Name&quot;:&quot;CoVDP_IAI report_amc&quot;,&quot;Description&quot;:null,&quot;DoNotIncludeHyperlinkToPbi&quot;:true,&quot;PbiElement&quot;:{&quot;ElementType&quot;:3,&quot;Page&quot;:{&quot;Name&quot;:&quot;ReportSection5c134b8f4692621dc755&quot;,&quot;DisplayName&quot;:&quot;c_cov_i_disag&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61.xml><?xml version="1.0" encoding="utf-8"?>
<p:tagLst xmlns:a="http://schemas.openxmlformats.org/drawingml/2006/main" xmlns:r="http://schemas.openxmlformats.org/officeDocument/2006/relationships" xmlns:p="http://schemas.openxmlformats.org/presentationml/2006/main">
  <p:tag name="DEVSCOPEPBISMARTSHAPES.TAG" val="{&quot;Id&quot;:&quot;c8b0a28b4d634055bbb5c99a91bb5573&quot;,&quot;CaptureId&quot;:null,&quot;Name&quot;:&quot;CoVDP_IAI report_amc&quot;,&quot;Description&quot;:null,&quot;DoNotIncludeHyperlinkToPbi&quot;:true,&quot;PbiElement&quot;:{&quot;ElementType&quot;:3,&quot;Page&quot;:{&quot;Name&quot;:&quot;ReportSection990105f2058f6381d22e&quot;,&quot;DisplayName&quot;:&quot;c_cov_ii_comp&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1600,&quot;ShapeHeight&quot;:900}"/>
</p:tagLst>
</file>

<file path=ppt/tags/tag262.xml><?xml version="1.0" encoding="utf-8"?>
<p:tagLst xmlns:a="http://schemas.openxmlformats.org/drawingml/2006/main" xmlns:r="http://schemas.openxmlformats.org/officeDocument/2006/relationships" xmlns:p="http://schemas.openxmlformats.org/presentationml/2006/main">
  <p:tag name="DEVSCOPEPBISMARTSHAPES.TAG" val="{&quot;Id&quot;:&quot;928b297645e34ad9813b6d166e536eda&quot;,&quot;CaptureId&quot;:null,&quot;Name&quot;:&quot;CoVDP_IAI report_amc&quot;,&quot;Description&quot;:null,&quot;DoNotIncludeHyperlinkToPbi&quot;:true,&quot;PbiElement&quot;:{&quot;ElementType&quot;:3,&quot;Page&quot;:{&quot;Name&quot;:&quot;ReportSection80f5df6e2c15cca7e7ce&quot;,&quot;DisplayName&quot;:&quot;c_cov_iii_hcw_overview&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63.xml><?xml version="1.0" encoding="utf-8"?>
<p:tagLst xmlns:a="http://schemas.openxmlformats.org/drawingml/2006/main" xmlns:r="http://schemas.openxmlformats.org/officeDocument/2006/relationships" xmlns:p="http://schemas.openxmlformats.org/presentationml/2006/main">
  <p:tag name="DEVSCOPEPBISMARTSHAPES.TAG" val="{&quot;Id&quot;:&quot;081c91786b594045bca6a64370ef737d&quot;,&quot;CaptureId&quot;:null,&quot;Name&quot;:&quot;CoVDP_IAI report_amc&quot;,&quot;Description&quot;:null,&quot;DoNotIncludeHyperlinkToPbi&quot;:true,&quot;PbiElement&quot;:{&quot;ElementType&quot;:3,&quot;Page&quot;:{&quot;Name&quot;:&quot;ReportSectionc42292d34132b7c13133&quot;,&quot;DisplayName&quot;:&quot;c_cov_iii_hcw_all&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1c2FnZU1ldHJpY3NWTmV4dCI6dHJ1ZX19&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64.xml><?xml version="1.0" encoding="utf-8"?>
<p:tagLst xmlns:a="http://schemas.openxmlformats.org/drawingml/2006/main" xmlns:r="http://schemas.openxmlformats.org/officeDocument/2006/relationships" xmlns:p="http://schemas.openxmlformats.org/presentationml/2006/main">
  <p:tag name="DEVSCOPEPBISMARTSHAPES.TAG" val="{&quot;Id&quot;:&quot;cdf050bc3ab64104a5fbe5561e2fed7c&quot;,&quot;CaptureId&quot;:null,&quot;Name&quot;:&quot;CoVDP_IAI report_amc&quot;,&quot;Description&quot;:null,&quot;DoNotIncludeHyperlinkToPbi&quot;:true,&quot;PbiElement&quot;:{&quot;ElementType&quot;:3,&quot;Page&quot;:{&quot;Name&quot;:&quot;ReportSectiona75c73f9d3e1eb902a81&quot;,&quot;DisplayName&quot;:&quot;c_cov_iii_hcw_scatter&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65.xml><?xml version="1.0" encoding="utf-8"?>
<p:tagLst xmlns:a="http://schemas.openxmlformats.org/drawingml/2006/main" xmlns:r="http://schemas.openxmlformats.org/officeDocument/2006/relationships" xmlns:p="http://schemas.openxmlformats.org/presentationml/2006/main">
  <p:tag name="DEVSCOPEPBISMARTSHAPES.TAG" val="{&quot;Id&quot;:&quot;72ff917580b749379f77667e6ce5db85&quot;,&quot;CaptureId&quot;:null,&quot;Name&quot;:&quot;CoVDP_IAI report_amc&quot;,&quot;Description&quot;:null,&quot;DoNotIncludeHyperlinkToPbi&quot;:true,&quot;PbiElement&quot;:{&quot;ElementType&quot;:3,&quot;Page&quot;:{&quot;Name&quot;:&quot;ReportSectioneb700ce39a39656b5f28&quot;,&quot;DisplayName&quot;:&quot;c_cov_iii_60p_overview&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66.xml><?xml version="1.0" encoding="utf-8"?>
<p:tagLst xmlns:a="http://schemas.openxmlformats.org/drawingml/2006/main" xmlns:r="http://schemas.openxmlformats.org/officeDocument/2006/relationships" xmlns:p="http://schemas.openxmlformats.org/presentationml/2006/main">
  <p:tag name="DEVSCOPEPBISMARTSHAPES.TAG" val="{&quot;Id&quot;:&quot;4b6a2eb74b754a5ebad70f24b9f1d9ad&quot;,&quot;CaptureId&quot;:null,&quot;Name&quot;:&quot;CoVDP_IAI report_amc&quot;,&quot;Description&quot;:null,&quot;DoNotIncludeHyperlinkToPbi&quot;:true,&quot;PbiElement&quot;:{&quot;ElementType&quot;:3,&quot;Page&quot;:{&quot;Name&quot;:&quot;ReportSectionddc33a1044fb70d4308d&quot;,&quot;DisplayName&quot;:&quot;c_cov_iii_60p_all&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1c2FnZU1ldHJpY3NWTmV4dCI6dHJ1ZX19&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67.xml><?xml version="1.0" encoding="utf-8"?>
<p:tagLst xmlns:a="http://schemas.openxmlformats.org/drawingml/2006/main" xmlns:r="http://schemas.openxmlformats.org/officeDocument/2006/relationships" xmlns:p="http://schemas.openxmlformats.org/presentationml/2006/main">
  <p:tag name="DEVSCOPEPBISMARTSHAPES.TAG" val="{&quot;Id&quot;:&quot;4af6b549f87b45e583c4e289fe04297a&quot;,&quot;CaptureId&quot;:null,&quot;Name&quot;:&quot;CoVDP_IAI report_amc&quot;,&quot;Description&quot;:null,&quot;DoNotIncludeHyperlinkToPbi&quot;:true,&quot;PbiElement&quot;:{&quot;ElementType&quot;:3,&quot;Page&quot;:{&quot;Name&quot;:&quot;ReportSection841798bb211258e17ced&quot;,&quot;DisplayName&quot;:&quot;c_cov_iii_60p_scatter&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68.xml><?xml version="1.0" encoding="utf-8"?>
<p:tagLst xmlns:a="http://schemas.openxmlformats.org/drawingml/2006/main" xmlns:r="http://schemas.openxmlformats.org/officeDocument/2006/relationships" xmlns:p="http://schemas.openxmlformats.org/presentationml/2006/main">
  <p:tag name="DEVSCOPEPBISMARTSHAPES.TAG" val="{&quot;Id&quot;:&quot;8ea451ff9aa24f89a97fdcdac0725d6e&quot;,&quot;CaptureId&quot;:null,&quot;Name&quot;:&quot;CoVDP_IAI report_amc&quot;,&quot;Description&quot;:null,&quot;DoNotIncludeHyperlinkToPbi&quot;:true,&quot;PbiElement&quot;:{&quot;ElementType&quot;:3,&quot;Page&quot;:{&quot;Name&quot;:&quot;ReportSectionc34b852aa583daf59bab&quot;,&quot;DisplayName&quot;:&quot;c_cov_iii_gen_overview&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69.xml><?xml version="1.0" encoding="utf-8"?>
<p:tagLst xmlns:a="http://schemas.openxmlformats.org/drawingml/2006/main" xmlns:r="http://schemas.openxmlformats.org/officeDocument/2006/relationships" xmlns:p="http://schemas.openxmlformats.org/presentationml/2006/main">
  <p:tag name="DEVSCOPEPBISMARTSHAPES.TAG" val="{&quot;Id&quot;:&quot;7bbfc0d41d8b4e26b028c29a6587ce42&quot;,&quot;CaptureId&quot;:null,&quot;Name&quot;:&quot;CoVDP_IAI report_amc&quot;,&quot;Description&quot;:null,&quot;DoNotIncludeHyperlinkToPbi&quot;:true,&quot;PbiElement&quot;:{&quot;ElementType&quot;:3,&quot;Page&quot;:{&quot;Name&quot;:&quot;ReportSection5d20f36d749e98f9ff21&quot;,&quot;DisplayName&quot;:&quot;c_cov_iii_gen_scatter&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39}"/>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DEVSCOPEPBISMARTSHAPES.TAG" val="{&quot;Id&quot;:&quot;6670acb5ba8a45f7a7531d8ac87376f6&quot;,&quot;CaptureId&quot;:null,&quot;Name&quot;:&quot;CoVDP_IAI report_amc&quot;,&quot;Description&quot;:null,&quot;DoNotIncludeHyperlinkToPbi&quot;:true,&quot;PbiElement&quot;:{&quot;ElementType&quot;:3,&quot;Page&quot;:{&quot;Name&quot;:&quot;ReportSectionaf769f68e1bae50e01a6&quot;,&quot;DisplayName&quot;:&quot;c_cov_ii_tar70_snapshot&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true,&quot;AbsoluteWidthEnabled&quot;:true,&quot;AbsoluteHeight&quot;:1620.0,&quot;AbsoluteWidth&quot;:2880.0,&quot;DelayBeforeRender&quot;:10000.0,&quot;DelayBeforeRenderEnabled&quot;:false,&quot;UserControlledWaitDelayEnabled&quot;:false,&quot;ViewResize&quot;:0,&quot;TimeStamp&quot;:{&quot;Enabled&quot;:false}},&quot;Parent&quot;:null,&quot;LastRenderedSize&quot;:&quot;2880, 1620&quot;,&quot;LastRenderScale&quot;:2.0,&quot;LastRenderStatus&quot;:5,&quot;LastRenderStatusMessage&quot;:&quot;&quot;},&quot;ShapeType&quot;:0,&quot;ShapeWidth&quot;:2560,&quot;ShapeHeight&quot;:1440}"/>
</p:tagLst>
</file>

<file path=ppt/tags/tag271.xml><?xml version="1.0" encoding="utf-8"?>
<p:tagLst xmlns:a="http://schemas.openxmlformats.org/drawingml/2006/main" xmlns:r="http://schemas.openxmlformats.org/officeDocument/2006/relationships" xmlns:p="http://schemas.openxmlformats.org/presentationml/2006/main">
  <p:tag name="DEVSCOPEPBISMARTSHAPES.TAG" val="{&quot;Id&quot;:&quot;410817648a614cfbbaafe22d0d7a82a6&quot;,&quot;CaptureId&quot;:null,&quot;Name&quot;:&quot;CoVDP_IAI report_amc&quot;,&quot;Description&quot;:null,&quot;DoNotIncludeHyperlinkToPbi&quot;:true,&quot;PbiElement&quot;:{&quot;ElementType&quot;:3,&quot;Page&quot;:{&quot;Name&quot;:&quot;ReportSection0381468b283940cb89c2&quot;,&quot;DisplayName&quot;:&quot;c_cov_ii_ct_snapshot&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1600,&quot;ShapeHeight&quot;:900}"/>
</p:tagLst>
</file>

<file path=ppt/tags/tag272.xml><?xml version="1.0" encoding="utf-8"?>
<p:tagLst xmlns:a="http://schemas.openxmlformats.org/drawingml/2006/main" xmlns:r="http://schemas.openxmlformats.org/officeDocument/2006/relationships" xmlns:p="http://schemas.openxmlformats.org/presentationml/2006/main">
  <p:tag name="DEVSCOPEPBISMARTSHAPES.TAG" val="{&quot;Id&quot;:&quot;4dc05e9e4eb746d682bfc07e302da718&quot;,&quot;CaptureId&quot;:null,&quot;Name&quot;:&quot;CoVDP_IAI report_amc&quot;,&quot;Description&quot;:null,&quot;DoNotIncludeHyperlinkToPbi&quot;:true,&quot;PbiElement&quot;:{&quot;ElementType&quot;:3,&quot;Page&quot;:{&quot;Name&quot;:&quot;ReportSection1fcfea83960a1b80d46e&quot;,&quot;DisplayName&quot;:&quot;c_cov_ii_ct_comp&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DEVSCOPEPBISMARTSHAPES.TAG" val="{&quot;Id&quot;:&quot;a17b5e5eecfb4f919ce6e99e08e0e989&quot;,&quot;CaptureId&quot;:null,&quot;Name&quot;:&quot;CoVDP_IAI report_amc&quot;,&quot;Description&quot;:null,&quot;DoNotIncludeHyperlinkToPbi&quot;:true,&quot;PbiElement&quot;:{&quot;ElementType&quot;:3,&quot;Page&quot;:{&quot;Name&quot;:&quot;ReportSection067d8dfbf4ac1f603d21&quot;,&quot;DisplayName&quot;:&quot;b_vr_i_overview&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75.xml><?xml version="1.0" encoding="utf-8"?>
<p:tagLst xmlns:a="http://schemas.openxmlformats.org/drawingml/2006/main" xmlns:r="http://schemas.openxmlformats.org/officeDocument/2006/relationships" xmlns:p="http://schemas.openxmlformats.org/presentationml/2006/main">
  <p:tag name="DEVSCOPEPBISMARTSHAPES.TAG" val="{&quot;Id&quot;:&quot;b6f3426dc1714839afe6cba64f59a5f5&quot;,&quot;CaptureId&quot;:null,&quot;Name&quot;:&quot;CoVDP_IAI report_amc&quot;,&quot;Description&quot;:null,&quot;DoNotIncludeHyperlinkToPbi&quot;:true,&quot;PbiElement&quot;:{&quot;ElementType&quot;:3,&quot;Page&quot;:{&quot;Name&quot;:&quot;ReportSection07d45cdf8d0a341ecbe5&quot;,&quot;DisplayName&quot;:&quot;b_vr_ii_overview&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76.xml><?xml version="1.0" encoding="utf-8"?>
<p:tagLst xmlns:a="http://schemas.openxmlformats.org/drawingml/2006/main" xmlns:r="http://schemas.openxmlformats.org/officeDocument/2006/relationships" xmlns:p="http://schemas.openxmlformats.org/presentationml/2006/main">
  <p:tag name="DEVSCOPEPBISMARTSHAPES.TAG" val="{&quot;Id&quot;:&quot;6403d728fb71469cb5ae3f4061f1a2d5&quot;,&quot;CaptureId&quot;:null,&quot;Name&quot;:&quot;CoVDP_IAI report_amc&quot;,&quot;Description&quot;:null,&quot;DoNotIncludeHyperlinkToPbi&quot;:true,&quot;PbiElement&quot;:{&quot;ElementType&quot;:3,&quot;Page&quot;:{&quot;Name&quot;:&quot;ReportSection3e7f88f8ad98f2fae101&quot;,&quot;DisplayName&quot;:&quot;b_vr_ii_detail&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77.xml><?xml version="1.0" encoding="utf-8"?>
<p:tagLst xmlns:a="http://schemas.openxmlformats.org/drawingml/2006/main" xmlns:r="http://schemas.openxmlformats.org/officeDocument/2006/relationships" xmlns:p="http://schemas.openxmlformats.org/presentationml/2006/main">
  <p:tag name="DEVSCOPEPBISMARTSHAPES.TAG" val="{&quot;Id&quot;:&quot;8b65066bfa2642759b16a6a44e4d8437&quot;,&quot;CaptureId&quot;:null,&quot;Name&quot;:&quot;CoVDP_IAI report_amc&quot;,&quot;Description&quot;:null,&quot;DoNotIncludeHyperlinkToPbi&quot;:true,&quot;PbiElement&quot;:{&quot;ElementType&quot;:3,&quot;Page&quot;:{&quot;Name&quot;:&quot;ReportSectionaf1b1a15f789b5a13ce5&quot;,&quot;DisplayName&quot;:&quot;b_vr_ii_evo&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DEVSCOPEPBISMARTSHAPES.TAG" val="{&quot;Id&quot;:&quot;437bbae6397c49a8adb1a57cc111eeb0&quot;,&quot;CaptureId&quot;:null,&quot;Name&quot;:&quot;CoVDP_IAI report_amc&quot;,&quot;Description&quot;:null,&quot;DoNotIncludeHyperlinkToPbi&quot;:true,&quot;PbiElement&quot;:{&quot;ElementType&quot;:3,&quot;Page&quot;:{&quot;Name&quot;:&quot;ReportSectiond7d8cfc1772584958673&quot;,&quot;DisplayName&quot;:&quot;d_sd_i_overview&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0.xml><?xml version="1.0" encoding="utf-8"?>
<p:tagLst xmlns:a="http://schemas.openxmlformats.org/drawingml/2006/main" xmlns:r="http://schemas.openxmlformats.org/officeDocument/2006/relationships" xmlns:p="http://schemas.openxmlformats.org/presentationml/2006/main">
  <p:tag name="DEVSCOPEPBISMARTSHAPES.TAG" val="{&quot;Id&quot;:&quot;695e5ea587914c6e967995567ae8f099&quot;,&quot;CaptureId&quot;:null,&quot;Name&quot;:&quot;CoVDP_IAI report_amc&quot;,&quot;Description&quot;:null,&quot;DoNotIncludeHyperlinkToPbi&quot;:true,&quot;PbiElement&quot;:{&quot;ElementType&quot;:3,&quot;Page&quot;:{&quot;Name&quot;:&quot;ReportSection87a2cf7a59dd0f8f9fe6&quot;,&quot;DisplayName&quot;:&quot;d_sd_i_all_source&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81.xml><?xml version="1.0" encoding="utf-8"?>
<p:tagLst xmlns:a="http://schemas.openxmlformats.org/drawingml/2006/main" xmlns:r="http://schemas.openxmlformats.org/officeDocument/2006/relationships" xmlns:p="http://schemas.openxmlformats.org/presentationml/2006/main">
  <p:tag name="DEVSCOPEPBISMARTSHAPES.TAG" val="{&quot;Id&quot;:&quot;18456c6be3cd49d9ae6a13da5806c43f&quot;,&quot;CaptureId&quot;:null,&quot;Name&quot;:&quot;CoVDP_IAI report_amc&quot;,&quot;Description&quot;:null,&quot;DoNotIncludeHyperlinkToPbi&quot;:true,&quot;PbiElement&quot;:{&quot;ElementType&quot;:3,&quot;Page&quot;:{&quot;Name&quot;:&quot;ReportSectionce8be4366c44945bc900&quot;,&quot;DisplayName&quot;:&quot;d_sd_ii_overview&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82.xml><?xml version="1.0" encoding="utf-8"?>
<p:tagLst xmlns:a="http://schemas.openxmlformats.org/drawingml/2006/main" xmlns:r="http://schemas.openxmlformats.org/officeDocument/2006/relationships" xmlns:p="http://schemas.openxmlformats.org/presentationml/2006/main">
  <p:tag name="DEVSCOPEPBISMARTSHAPES.TAG" val="{&quot;Id&quot;:&quot;566cfda4b5ec466bae76c73e82325af2&quot;,&quot;CaptureId&quot;:null,&quot;Name&quot;:&quot;CoVDP_IAI report_amc&quot;,&quot;Description&quot;:null,&quot;DoNotIncludeHyperlinkToPbi&quot;:true,&quot;PbiElement&quot;:{&quot;ElementType&quot;:3,&quot;Page&quot;:{&quot;Name&quot;:&quot;ReportSection92d81a3511d3dd061016&quot;,&quot;DisplayName&quot;:&quot;d_sd_ii_all_source&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83.xml><?xml version="1.0" encoding="utf-8"?>
<p:tagLst xmlns:a="http://schemas.openxmlformats.org/drawingml/2006/main" xmlns:r="http://schemas.openxmlformats.org/officeDocument/2006/relationships" xmlns:p="http://schemas.openxmlformats.org/presentationml/2006/main">
  <p:tag name="DEVSCOPEPBISMARTSHAPES.TAG" val="{&quot;Id&quot;:&quot;284e4da7a1a44fa89a48276cf6b8525a&quot;,&quot;CaptureId&quot;:null,&quot;Name&quot;:&quot;CoVDP_IAI report_amc&quot;,&quot;Description&quot;:null,&quot;DoNotIncludeHyperlinkToPbi&quot;:true,&quot;PbiElement&quot;:{&quot;ElementType&quot;:3,&quot;Page&quot;:{&quot;Name&quot;:&quot;ReportSectione87e4ed828e0c4a70587&quot;,&quot;DisplayName&quot;:&quot;d_sd_ii_all_prod&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1600,&quot;ShapeHeight&quot;:900}"/>
</p:tagLst>
</file>

<file path=ppt/tags/tag284.xml><?xml version="1.0" encoding="utf-8"?>
<p:tagLst xmlns:a="http://schemas.openxmlformats.org/drawingml/2006/main" xmlns:r="http://schemas.openxmlformats.org/officeDocument/2006/relationships" xmlns:p="http://schemas.openxmlformats.org/presentationml/2006/main">
  <p:tag name="DEVSCOPEPBISMARTSHAPES.TAG" val="{&quot;Id&quot;:&quot;5fc9095627834d54ab662f48c56fc97c&quot;,&quot;CaptureId&quot;:null,&quot;Name&quot;:&quot;CoVDP_IAI report_amc&quot;,&quot;Description&quot;:null,&quot;DoNotIncludeHyperlinkToPbi&quot;:true,&quot;PbiElement&quot;:{&quot;ElementType&quot;:3,&quot;Page&quot;:{&quot;Name&quot;:&quot;ReportSection1214c25312f097c88b6e&quot;,&quot;DisplayName&quot;:&quot;e_pu_i_overview&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DEVSCOPEPBISMARTSHAPES.TAG" val="{&quot;Id&quot;:&quot;a297faf9efdd4170a4beff54567d90c3&quot;,&quot;CaptureId&quot;:null,&quot;Name&quot;:&quot;CoVDP_IAI report_amc&quot;,&quot;Description&quot;:null,&quot;DoNotIncludeHyperlinkToPbi&quot;:true,&quot;PbiElement&quot;:{&quot;ElementType&quot;:3,&quot;Page&quot;:{&quot;Name&quot;:&quot;ReportSection9ec00af126320e46a5b9&quot;,&quot;DisplayName&quot;:&quot;f_fund_i_overview&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87.xml><?xml version="1.0" encoding="utf-8"?>
<p:tagLst xmlns:a="http://schemas.openxmlformats.org/drawingml/2006/main" xmlns:r="http://schemas.openxmlformats.org/officeDocument/2006/relationships" xmlns:p="http://schemas.openxmlformats.org/presentationml/2006/main">
  <p:tag name="DEVSCOPEPBISMARTSHAPES.TAG" val="{&quot;Id&quot;:&quot;75f2df1b4366495388f0876fac9c9174&quot;,&quot;CaptureId&quot;:null,&quot;Name&quot;:&quot;CoVDP_IAI report_amc&quot;,&quot;Description&quot;:null,&quot;DoNotIncludeHyperlinkToPbi&quot;:true,&quot;PbiElement&quot;:{&quot;ElementType&quot;:3,&quot;Page&quot;:{&quot;Name&quot;:&quot;ReportSection461dd1f279cbf4fb0572&quot;,&quot;DisplayName&quot;:&quot;f_fund_i_scatter&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88.xml><?xml version="1.0" encoding="utf-8"?>
<p:tagLst xmlns:a="http://schemas.openxmlformats.org/drawingml/2006/main" xmlns:r="http://schemas.openxmlformats.org/officeDocument/2006/relationships" xmlns:p="http://schemas.openxmlformats.org/presentationml/2006/main">
  <p:tag name="DEVSCOPEPBISMARTSHAPES.TAG" val="{&quot;Id&quot;:&quot;ffc77e9823304897846acbf1be75c725&quot;,&quot;CaptureId&quot;:null,&quot;Name&quot;:&quot;CoVDP_IAI report_amc&quot;,&quot;Description&quot;:null,&quot;DoNotIncludeHyperlinkToPbi&quot;:true,&quot;PbiElement&quot;:{&quot;ElementType&quot;:3,&quot;Page&quot;:{&quot;Name&quot;:&quot;ReportSection983c3f9c2fe98ef83542&quot;,&quot;DisplayName&quot;:&quot;f_fund_i_waterfall&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0.xml><?xml version="1.0" encoding="utf-8"?>
<p:tagLst xmlns:a="http://schemas.openxmlformats.org/drawingml/2006/main" xmlns:r="http://schemas.openxmlformats.org/officeDocument/2006/relationships" xmlns:p="http://schemas.openxmlformats.org/presentationml/2006/main">
  <p:tag name="DEVSCOPEPBISMARTSHAPES.TAG" val="{&quot;Id&quot;:&quot;98e7b98e5e8c41c5b0a6bc6338713712&quot;,&quot;CaptureId&quot;:null,&quot;Name&quot;:&quot;CoVDP_IAI report_amc&quot;,&quot;Description&quot;:null,&quot;DoNotIncludeHyperlinkToPbi&quot;:true,&quot;PbiElement&quot;:{&quot;ElementType&quot;:3,&quot;Page&quot;:{&quot;Name&quot;:&quot;ReportSection2b00aae4d4a78a31dada&quot;,&quot;DisplayName&quot;:&quot;csl_key&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91.xml><?xml version="1.0" encoding="utf-8"?>
<p:tagLst xmlns:a="http://schemas.openxmlformats.org/drawingml/2006/main" xmlns:r="http://schemas.openxmlformats.org/officeDocument/2006/relationships" xmlns:p="http://schemas.openxmlformats.org/presentationml/2006/main">
  <p:tag name="DEVSCOPEPBISMARTSHAPES.TAG" val="{&quot;Id&quot;:&quot;e566f13b6cdd446490dc75d053c1fcdc&quot;,&quot;CaptureId&quot;:null,&quot;Name&quot;:&quot;CoVDP_IAI report_amc&quot;,&quot;Description&quot;:null,&quot;DoNotIncludeHyperlinkToPbi&quot;:true,&quot;PbiElement&quot;:{&quot;ElementType&quot;:3,&quot;Page&quot;:{&quot;Name&quot;:&quot;ReportSection14b37eb3a7ac13c8645e&quot;,&quot;DisplayName&quot;:&quot;csl_list&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92.xml><?xml version="1.0" encoding="utf-8"?>
<p:tagLst xmlns:a="http://schemas.openxmlformats.org/drawingml/2006/main" xmlns:r="http://schemas.openxmlformats.org/officeDocument/2006/relationships" xmlns:p="http://schemas.openxmlformats.org/presentationml/2006/main">
  <p:tag name="DEVSCOPEPBISMARTSHAPES.TAG" val="{&quot;Id&quot;:&quot;8842dc3e763d4e74aae59389f69e521b&quot;,&quot;CaptureId&quot;:null,&quot;Name&quot;:&quot;CoVDP_IAI report_amc&quot;,&quot;Description&quot;:null,&quot;DoNotIncludeHyperlinkToPbi&quot;:true,&quot;PbiElement&quot;:{&quot;ElementType&quot;:3,&quot;Page&quot;:{&quot;Name&quot;:&quot;ReportSectioned93d426fc9c97136971&quot;,&quot;DisplayName&quot;:&quot;csl_scatter&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93.xml><?xml version="1.0" encoding="utf-8"?>
<p:tagLst xmlns:a="http://schemas.openxmlformats.org/drawingml/2006/main" xmlns:r="http://schemas.openxmlformats.org/officeDocument/2006/relationships" xmlns:p="http://schemas.openxmlformats.org/presentationml/2006/main">
  <p:tag name="DEVSCOPEPBISMARTSHAPES.TAG" val="{&quot;Id&quot;:&quot;d622267dd7c844e08c5603fa9d852721&quot;,&quot;CaptureId&quot;:null,&quot;Name&quot;:&quot;CoVDP_IAI report_amc&quot;,&quot;Description&quot;:null,&quot;DoNotIncludeHyperlinkToPbi&quot;:true,&quot;PbiElement&quot;:{&quot;ElementType&quot;:3,&quot;Page&quot;:{&quot;Name&quot;:&quot;ReportSection481680a8506bd397e4cd&quot;,&quot;DisplayName&quot;:&quot;csl_funnel_1&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00, 900&quot;,&quot;LastRenderScale&quot;:2.0,&quot;LastRenderStatus&quot;:5,&quot;LastRenderStatusMessage&quot;:&quot;&quot;},&quot;ShapeType&quot;:0,&quot;ShapeWidth&quot;:2560,&quot;ShapeHeight&quot;:1440}"/>
</p:tagLst>
</file>

<file path=ppt/tags/tag294.xml><?xml version="1.0" encoding="utf-8"?>
<p:tagLst xmlns:a="http://schemas.openxmlformats.org/drawingml/2006/main" xmlns:r="http://schemas.openxmlformats.org/officeDocument/2006/relationships" xmlns:p="http://schemas.openxmlformats.org/presentationml/2006/main">
  <p:tag name="DEVSCOPEPBISMARTSHAPES.TAG" val="{&quot;Id&quot;:&quot;2b383a9d1c9d42c2b4c69180b235acd8&quot;,&quot;CaptureId&quot;:null,&quot;Name&quot;:&quot;CoVDP_IAI report_amc&quot;,&quot;Description&quot;:null,&quot;DoNotIncludeHyperlinkToPbi&quot;:true,&quot;PbiElement&quot;:{&quot;ElementType&quot;:3,&quot;Page&quot;:{&quot;Name&quot;:&quot;ReportSectionaad0659bbafe863711b0&quot;,&quot;DisplayName&quot;:&quot;csl_funnel_2&quot;,&quot;Visuals&quot;:null,&quot;SavedFilters&quot;:null,&quot;FilterSettings&quot;:null},&quot;SavedBookmark&quot;:null,&quot;SelectedBookmark&quot;:null,&quot;BaseSlicers&quot;:null,&quot;SavedSlicers&quot;:null,&quot;Name&quot;:&quot;CoVDP_IAI report_amc&quot;,&quot;Id&quot;:&quot;2bb707b5-cea1-42e2-9a38-8bf85e4e32ac&quot;,&quot;Title&quot;:&quot;CoVDP_IAI report_amc&quot;,&quot;EmbedUrl&quot;:&quot;https://app.powerbi.com/reportEmbed?reportId=2bb707b5-cea1-42e2-9a38-8bf85e4e32ac&amp;groupId=74edb552-9095-494d-bb31-abbedd32af99&amp;w=2&amp;config=eyJjbHVzdGVyVXJsIjoiaHR0cHM6Ly9XQUJJLU5PUlRILUVVUk9QRS1HLVBSSU1BUlktcmVkaXJlY3QuYW5hbHlzaXMud2luZG93cy5uZXQiLCJlbWJlZEZlYXR1cmVzIjp7Im1vZGVybkVtYmVkIjp0cnVlLCJhbmd1bGFyT25seVJlcG9ydEVtYmVkIjp0cnVlLCJjZXJ0aWZpZWRUZWxlbWV0cnlFbWJlZCI6dHJ1ZSwidXNhZ2VNZXRyaWNzVk5leHQiOnRydWUsInNraXBab25lUGF0Y2giOnRydWV9fQ%3d%3d&quot;,&quot;WebUrl&quot;:&quot;https://app.powerbi.com/groups/74edb552-9095-494d-bb31-abbedd32af99/reports/2bb707b5-cea1-42e2-9a38-8bf85e4e32ac&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920, 1080&quot;,&quot;LastRenderScale&quot;:2.0,&quot;LastRenderStatus&quot;:5,&quot;LastRenderStatusMessage&quot;:&quot;&quot;},&quot;ShapeType&quot;:0,&quot;ShapeWidth&quot;:2560,&quot;ShapeHeight&quot;:1440}"/>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10" id="{380BFB42-4FEF-7641-AF17-9A92153CD69B}" vid="{B8C5F178-E533-2F49-8BF7-EFCE41155F35}"/>
    </a:ext>
  </a:extLst>
</a:theme>
</file>

<file path=ppt/theme/theme2.xml><?xml version="1.0" encoding="utf-8"?>
<a:theme xmlns:a="http://schemas.openxmlformats.org/drawingml/2006/main" name="2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10" id="{380BFB42-4FEF-7641-AF17-9A92153CD69B}" vid="{2CB9C542-A396-534A-8EDD-FE7F17BFA049}"/>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F87334A6AC30D4EA6021977FA7E2445" ma:contentTypeVersion="13" ma:contentTypeDescription="Create a new document." ma:contentTypeScope="" ma:versionID="13eff9136b4917bb459ad9c1db870f6d">
  <xsd:schema xmlns:xsd="http://www.w3.org/2001/XMLSchema" xmlns:xs="http://www.w3.org/2001/XMLSchema" xmlns:p="http://schemas.microsoft.com/office/2006/metadata/properties" xmlns:ns2="b370a6fa-a798-42e0-969d-19c284d8683f" xmlns:ns3="62ca1376-8bea-4949-825e-fec085c3924e" targetNamespace="http://schemas.microsoft.com/office/2006/metadata/properties" ma:root="true" ma:fieldsID="60e7197df19c7150b1ba0c3bfe00adf4" ns2:_="" ns3:_="">
    <xsd:import namespace="b370a6fa-a798-42e0-969d-19c284d8683f"/>
    <xsd:import namespace="62ca1376-8bea-4949-825e-fec085c3924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370a6fa-a798-42e0-969d-19c284d8683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ca1376-8bea-4949-825e-fec085c3924e"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0BBB5D0-70E9-4F65-A29F-3428D683A077}">
  <ds:schemaRefs>
    <ds:schemaRef ds:uri="http://schemas.microsoft.com/sharepoint/v3/contenttype/forms"/>
  </ds:schemaRefs>
</ds:datastoreItem>
</file>

<file path=customXml/itemProps2.xml><?xml version="1.0" encoding="utf-8"?>
<ds:datastoreItem xmlns:ds="http://schemas.openxmlformats.org/officeDocument/2006/customXml" ds:itemID="{04F9A6BD-6376-4A76-8B4C-1D559ECE39BF}">
  <ds:schemaRefs>
    <ds:schemaRef ds:uri="62ca1376-8bea-4949-825e-fec085c3924e"/>
    <ds:schemaRef ds:uri="b370a6fa-a798-42e0-969d-19c284d8683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FBE4BB3-8341-42C3-8C04-612EF6E1C09C}">
  <ds:schemaRefs>
    <ds:schemaRef ds:uri="e962e66c-b804-4ad7-8f2b-ce81719009e0"/>
    <ds:schemaRef ds:uri="fc478a66-4b34-4aca-b6b4-a45cdfc7f82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1_White</Template>
  <TotalTime>117</TotalTime>
  <Words>888</Words>
  <Application>Microsoft Office PowerPoint</Application>
  <PresentationFormat>Widescreen</PresentationFormat>
  <Paragraphs>303</Paragraphs>
  <Slides>52</Slides>
  <Notes>3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52</vt:i4>
      </vt:variant>
    </vt:vector>
  </HeadingPairs>
  <TitlesOfParts>
    <vt:vector size="59" baseType="lpstr">
      <vt:lpstr>Arial</vt:lpstr>
      <vt:lpstr>Calibri</vt:lpstr>
      <vt:lpstr>Segoe UI</vt:lpstr>
      <vt:lpstr>Wingdings</vt:lpstr>
      <vt:lpstr>1_White</vt:lpstr>
      <vt:lpstr>2_White</vt:lpstr>
      <vt:lpstr>think-cell Slide</vt:lpstr>
      <vt:lpstr>COVID-19 Vaccine Implementation Analysis &amp; Insights  COVID-19 Vaccine Delivery Partnership</vt:lpstr>
      <vt:lpstr>Notes &amp; disclaimer</vt:lpstr>
      <vt:lpstr>Contents</vt:lpstr>
      <vt:lpstr>I. AMC92 portfolio analysis</vt:lpstr>
      <vt:lpstr>a. Participant summa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 Population cove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 Daily vaccination rate</vt:lpstr>
      <vt:lpstr>PowerPoint Presentation</vt:lpstr>
      <vt:lpstr>PowerPoint Presentation</vt:lpstr>
      <vt:lpstr>PowerPoint Presentation</vt:lpstr>
      <vt:lpstr>PowerPoint Presentation</vt:lpstr>
      <vt:lpstr>d. Supply secured &amp; received</vt:lpstr>
      <vt:lpstr>PowerPoint Presentation</vt:lpstr>
      <vt:lpstr>PowerPoint Presentation</vt:lpstr>
      <vt:lpstr>PowerPoint Presentation</vt:lpstr>
      <vt:lpstr>PowerPoint Presentation</vt:lpstr>
      <vt:lpstr>PowerPoint Presentation</vt:lpstr>
      <vt:lpstr>PowerPoint Presentation</vt:lpstr>
      <vt:lpstr>e. Delivery financing</vt:lpstr>
      <vt:lpstr>PowerPoint Presentation</vt:lpstr>
      <vt:lpstr>PowerPoint Presentation</vt:lpstr>
      <vt:lpstr>PowerPoint Presentation</vt:lpstr>
      <vt:lpstr>II. Concerted support countries analysis </vt:lpstr>
      <vt:lpstr>PowerPoint Presentation</vt:lpstr>
      <vt:lpstr>PowerPoint Presentation</vt:lpstr>
      <vt:lpstr>PowerPoint Presentation</vt:lpstr>
      <vt:lpstr>PowerPoint Presentation</vt:lpstr>
      <vt:lpstr>PowerPoint Presentation</vt:lpstr>
      <vt:lpstr>PowerPoint Presentation</vt:lpstr>
      <vt:lpstr>Annex 1: Country codes</vt:lpstr>
      <vt:lpstr>Annex 2: Definition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ubtitle 1 Subtitle 2</dc:title>
  <dc:subject/>
  <dc:creator>BROOKS, Donald Joseph</dc:creator>
  <cp:keywords/>
  <dc:description/>
  <cp:lastModifiedBy>Rafael Panlilio</cp:lastModifiedBy>
  <cp:revision>3</cp:revision>
  <cp:lastPrinted>2018-10-30T20:37:12Z</cp:lastPrinted>
  <dcterms:created xsi:type="dcterms:W3CDTF">2022-01-24T09:46:40Z</dcterms:created>
  <dcterms:modified xsi:type="dcterms:W3CDTF">2022-09-02T12:31:21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1-03-05 07:11 PM</vt:lpwstr>
  </property>
  <property fmtid="{D5CDD505-2E9C-101B-9397-08002B2CF9AE}" pid="8" name="TemplateCreated">
    <vt:lpwstr>2019-02-27 01:18 PM</vt:lpwstr>
  </property>
  <property fmtid="{D5CDD505-2E9C-101B-9397-08002B2CF9AE}" pid="9" name="ContentTypeId">
    <vt:lpwstr>0x0101001F87334A6AC30D4EA6021977FA7E2445</vt:lpwstr>
  </property>
</Properties>
</file>